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8" r:id="rId4"/>
  </p:sldMasterIdLst>
  <p:notesMasterIdLst>
    <p:notesMasterId r:id="rId13"/>
  </p:notesMasterIdLst>
  <p:sldIdLst>
    <p:sldId id="256" r:id="rId5"/>
    <p:sldId id="259" r:id="rId6"/>
    <p:sldId id="2134808588" r:id="rId7"/>
    <p:sldId id="2134808589" r:id="rId8"/>
    <p:sldId id="273" r:id="rId9"/>
    <p:sldId id="2134808584" r:id="rId10"/>
    <p:sldId id="2134808591" r:id="rId11"/>
    <p:sldId id="2134808592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579"/>
    <a:srgbClr val="0079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9" autoAdjust="0"/>
    <p:restoredTop sz="93035" autoAdjust="0"/>
  </p:normalViewPr>
  <p:slideViewPr>
    <p:cSldViewPr>
      <p:cViewPr varScale="1">
        <p:scale>
          <a:sx n="61" d="100"/>
          <a:sy n="61" d="100"/>
        </p:scale>
        <p:origin x="72" y="168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2" d="100"/>
          <a:sy n="52" d="100"/>
        </p:scale>
        <p:origin x="2610" y="3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nuepling, Matthias" userId="94f8fd53-976b-4af5-a5cb-36a34d046709" providerId="ADAL" clId="{4547E91D-042E-4829-9A50-46F7D965AE72}"/>
    <pc:docChg chg="undo redo custSel addSld delSld modSld modMainMaster">
      <pc:chgData name="Knuepling, Matthias" userId="94f8fd53-976b-4af5-a5cb-36a34d046709" providerId="ADAL" clId="{4547E91D-042E-4829-9A50-46F7D965AE72}" dt="2023-10-20T10:58:21.846" v="606" actId="208"/>
      <pc:docMkLst>
        <pc:docMk/>
      </pc:docMkLst>
      <pc:sldChg chg="delSp modSp mod">
        <pc:chgData name="Knuepling, Matthias" userId="94f8fd53-976b-4af5-a5cb-36a34d046709" providerId="ADAL" clId="{4547E91D-042E-4829-9A50-46F7D965AE72}" dt="2023-10-20T10:58:21.846" v="606" actId="208"/>
        <pc:sldMkLst>
          <pc:docMk/>
          <pc:sldMk cId="3850151423" sldId="259"/>
        </pc:sldMkLst>
        <pc:spChg chg="mod">
          <ac:chgData name="Knuepling, Matthias" userId="94f8fd53-976b-4af5-a5cb-36a34d046709" providerId="ADAL" clId="{4547E91D-042E-4829-9A50-46F7D965AE72}" dt="2023-10-20T08:56:34.390" v="10" actId="20577"/>
          <ac:spMkLst>
            <pc:docMk/>
            <pc:sldMk cId="3850151423" sldId="259"/>
            <ac:spMk id="2" creationId="{30598B62-04C9-4ED6-9ACB-9AD73BD54E9E}"/>
          </ac:spMkLst>
        </pc:spChg>
        <pc:spChg chg="del">
          <ac:chgData name="Knuepling, Matthias" userId="94f8fd53-976b-4af5-a5cb-36a34d046709" providerId="ADAL" clId="{4547E91D-042E-4829-9A50-46F7D965AE72}" dt="2023-10-20T08:53:53.895" v="0" actId="478"/>
          <ac:spMkLst>
            <pc:docMk/>
            <pc:sldMk cId="3850151423" sldId="259"/>
            <ac:spMk id="3" creationId="{7270F876-83E7-4CEB-BBED-A1D9A59A25C1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1" creationId="{9F1B1B02-1B24-C115-AC4C-401070401963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2" creationId="{3A5960AE-D71C-39F6-A710-5E1B983A8C62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3" creationId="{9D0B651B-73F8-115B-836A-AE685B8AB9B8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4" creationId="{C67E904B-E6D2-8D1E-35BC-CCD30D088023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5" creationId="{FF4C48A3-3724-AE59-4D9A-433F168ADB19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6" creationId="{CFB2D53F-2D6D-6D58-B23B-38537842E6C4}"/>
          </ac:spMkLst>
        </pc:spChg>
        <pc:spChg chg="mod">
          <ac:chgData name="Knuepling, Matthias" userId="94f8fd53-976b-4af5-a5cb-36a34d046709" providerId="ADAL" clId="{4547E91D-042E-4829-9A50-46F7D965AE72}" dt="2023-10-20T10:50:05.663" v="598" actId="113"/>
          <ac:spMkLst>
            <pc:docMk/>
            <pc:sldMk cId="3850151423" sldId="259"/>
            <ac:spMk id="68" creationId="{EA36036F-7098-7BD3-231E-C6A0B2950223}"/>
          </ac:spMkLst>
        </pc:spChg>
        <pc:spChg chg="mod">
          <ac:chgData name="Knuepling, Matthias" userId="94f8fd53-976b-4af5-a5cb-36a34d046709" providerId="ADAL" clId="{4547E91D-042E-4829-9A50-46F7D965AE72}" dt="2023-10-20T10:58:21.846" v="606" actId="208"/>
          <ac:spMkLst>
            <pc:docMk/>
            <pc:sldMk cId="3850151423" sldId="259"/>
            <ac:spMk id="69" creationId="{7C19AD19-A5A1-FD59-DEBD-D493B7D5EA18}"/>
          </ac:spMkLst>
        </pc:spChg>
      </pc:sldChg>
      <pc:sldChg chg="del">
        <pc:chgData name="Knuepling, Matthias" userId="94f8fd53-976b-4af5-a5cb-36a34d046709" providerId="ADAL" clId="{4547E91D-042E-4829-9A50-46F7D965AE72}" dt="2023-10-20T09:50:30.603" v="436" actId="47"/>
        <pc:sldMkLst>
          <pc:docMk/>
          <pc:sldMk cId="1506101503" sldId="272"/>
        </pc:sldMkLst>
      </pc:sldChg>
      <pc:sldChg chg="delSp modSp mod">
        <pc:chgData name="Knuepling, Matthias" userId="94f8fd53-976b-4af5-a5cb-36a34d046709" providerId="ADAL" clId="{4547E91D-042E-4829-9A50-46F7D965AE72}" dt="2023-10-20T10:57:58.277" v="601" actId="208"/>
        <pc:sldMkLst>
          <pc:docMk/>
          <pc:sldMk cId="696420767" sldId="273"/>
        </pc:sldMkLst>
        <pc:spChg chg="del">
          <ac:chgData name="Knuepling, Matthias" userId="94f8fd53-976b-4af5-a5cb-36a34d046709" providerId="ADAL" clId="{4547E91D-042E-4829-9A50-46F7D965AE72}" dt="2023-10-20T09:15:12.124" v="122" actId="478"/>
          <ac:spMkLst>
            <pc:docMk/>
            <pc:sldMk cId="696420767" sldId="273"/>
            <ac:spMk id="3" creationId="{7270F876-83E7-4CEB-BBED-A1D9A59A25C1}"/>
          </ac:spMkLst>
        </pc:spChg>
        <pc:spChg chg="del">
          <ac:chgData name="Knuepling, Matthias" userId="94f8fd53-976b-4af5-a5cb-36a34d046709" providerId="ADAL" clId="{4547E91D-042E-4829-9A50-46F7D965AE72}" dt="2023-10-20T09:15:20.777" v="123" actId="478"/>
          <ac:spMkLst>
            <pc:docMk/>
            <pc:sldMk cId="696420767" sldId="273"/>
            <ac:spMk id="5" creationId="{B20769C8-E281-EF30-58C3-2286612CDD89}"/>
          </ac:spMkLst>
        </pc:spChg>
        <pc:spChg chg="mod">
          <ac:chgData name="Knuepling, Matthias" userId="94f8fd53-976b-4af5-a5cb-36a34d046709" providerId="ADAL" clId="{4547E91D-042E-4829-9A50-46F7D965AE72}" dt="2023-10-20T10:57:58.277" v="601" actId="208"/>
          <ac:spMkLst>
            <pc:docMk/>
            <pc:sldMk cId="696420767" sldId="273"/>
            <ac:spMk id="15" creationId="{6F440052-09D9-211C-D6EE-CCC990922A7F}"/>
          </ac:spMkLst>
        </pc:spChg>
        <pc:spChg chg="del mod">
          <ac:chgData name="Knuepling, Matthias" userId="94f8fd53-976b-4af5-a5cb-36a34d046709" providerId="ADAL" clId="{4547E91D-042E-4829-9A50-46F7D965AE72}" dt="2023-10-20T09:20:31.005" v="184" actId="478"/>
          <ac:spMkLst>
            <pc:docMk/>
            <pc:sldMk cId="696420767" sldId="273"/>
            <ac:spMk id="16" creationId="{1E5E8CEA-DC68-8B6E-7D81-5D38A3E0668B}"/>
          </ac:spMkLst>
        </pc:spChg>
        <pc:spChg chg="mod">
          <ac:chgData name="Knuepling, Matthias" userId="94f8fd53-976b-4af5-a5cb-36a34d046709" providerId="ADAL" clId="{4547E91D-042E-4829-9A50-46F7D965AE72}" dt="2023-10-20T10:57:58.277" v="601" actId="208"/>
          <ac:spMkLst>
            <pc:docMk/>
            <pc:sldMk cId="696420767" sldId="273"/>
            <ac:spMk id="17" creationId="{9B574205-E6E0-A97D-421C-C1668C21AAAD}"/>
          </ac:spMkLst>
        </pc:spChg>
        <pc:spChg chg="mod">
          <ac:chgData name="Knuepling, Matthias" userId="94f8fd53-976b-4af5-a5cb-36a34d046709" providerId="ADAL" clId="{4547E91D-042E-4829-9A50-46F7D965AE72}" dt="2023-10-20T10:57:58.277" v="601" actId="208"/>
          <ac:spMkLst>
            <pc:docMk/>
            <pc:sldMk cId="696420767" sldId="273"/>
            <ac:spMk id="18" creationId="{4964165F-18CA-FC25-50B7-C8B13C338B53}"/>
          </ac:spMkLst>
        </pc:spChg>
        <pc:spChg chg="mod modCrop">
          <ac:chgData name="Knuepling, Matthias" userId="94f8fd53-976b-4af5-a5cb-36a34d046709" providerId="ADAL" clId="{4547E91D-042E-4829-9A50-46F7D965AE72}" dt="2023-10-20T10:57:58.277" v="601" actId="208"/>
          <ac:spMkLst>
            <pc:docMk/>
            <pc:sldMk cId="696420767" sldId="273"/>
            <ac:spMk id="19" creationId="{C8AA9D8C-BE29-8C37-CB00-6D48CC6BD20C}"/>
          </ac:spMkLst>
        </pc:spChg>
        <pc:spChg chg="del mod">
          <ac:chgData name="Knuepling, Matthias" userId="94f8fd53-976b-4af5-a5cb-36a34d046709" providerId="ADAL" clId="{4547E91D-042E-4829-9A50-46F7D965AE72}" dt="2023-10-20T09:20:32.268" v="185" actId="478"/>
          <ac:spMkLst>
            <pc:docMk/>
            <pc:sldMk cId="696420767" sldId="273"/>
            <ac:spMk id="22" creationId="{2A8B2146-2CE3-DE11-19AB-AEE5F030BB00}"/>
          </ac:spMkLst>
        </pc:spChg>
        <pc:spChg chg="mod">
          <ac:chgData name="Knuepling, Matthias" userId="94f8fd53-976b-4af5-a5cb-36a34d046709" providerId="ADAL" clId="{4547E91D-042E-4829-9A50-46F7D965AE72}" dt="2023-10-20T10:57:58.277" v="601" actId="208"/>
          <ac:spMkLst>
            <pc:docMk/>
            <pc:sldMk cId="696420767" sldId="273"/>
            <ac:spMk id="24" creationId="{DACDE259-1DBD-58A8-77EF-061C5FD60507}"/>
          </ac:spMkLst>
        </pc:spChg>
        <pc:picChg chg="del">
          <ac:chgData name="Knuepling, Matthias" userId="94f8fd53-976b-4af5-a5cb-36a34d046709" providerId="ADAL" clId="{4547E91D-042E-4829-9A50-46F7D965AE72}" dt="2023-10-20T09:15:45.620" v="124" actId="478"/>
          <ac:picMkLst>
            <pc:docMk/>
            <pc:sldMk cId="696420767" sldId="273"/>
            <ac:picMk id="8" creationId="{15CA5A1C-CB7E-175C-5EF1-F6E3BA36DF5C}"/>
          </ac:picMkLst>
        </pc:picChg>
        <pc:picChg chg="del">
          <ac:chgData name="Knuepling, Matthias" userId="94f8fd53-976b-4af5-a5cb-36a34d046709" providerId="ADAL" clId="{4547E91D-042E-4829-9A50-46F7D965AE72}" dt="2023-10-20T09:15:45.620" v="124" actId="478"/>
          <ac:picMkLst>
            <pc:docMk/>
            <pc:sldMk cId="696420767" sldId="273"/>
            <ac:picMk id="9" creationId="{AA55A61B-81DC-A6FF-3FAA-C15A96DEF282}"/>
          </ac:picMkLst>
        </pc:picChg>
        <pc:picChg chg="del">
          <ac:chgData name="Knuepling, Matthias" userId="94f8fd53-976b-4af5-a5cb-36a34d046709" providerId="ADAL" clId="{4547E91D-042E-4829-9A50-46F7D965AE72}" dt="2023-10-20T09:15:45.620" v="124" actId="478"/>
          <ac:picMkLst>
            <pc:docMk/>
            <pc:sldMk cId="696420767" sldId="273"/>
            <ac:picMk id="10" creationId="{87DE3683-ABC4-54F8-5B54-D379D70BE84F}"/>
          </ac:picMkLst>
        </pc:picChg>
        <pc:picChg chg="del">
          <ac:chgData name="Knuepling, Matthias" userId="94f8fd53-976b-4af5-a5cb-36a34d046709" providerId="ADAL" clId="{4547E91D-042E-4829-9A50-46F7D965AE72}" dt="2023-10-20T09:15:48.924" v="125" actId="478"/>
          <ac:picMkLst>
            <pc:docMk/>
            <pc:sldMk cId="696420767" sldId="273"/>
            <ac:picMk id="11" creationId="{F27A073E-28C6-D47F-9279-6804B40D4CED}"/>
          </ac:picMkLst>
        </pc:picChg>
        <pc:picChg chg="del">
          <ac:chgData name="Knuepling, Matthias" userId="94f8fd53-976b-4af5-a5cb-36a34d046709" providerId="ADAL" clId="{4547E91D-042E-4829-9A50-46F7D965AE72}" dt="2023-10-20T09:15:45.620" v="124" actId="478"/>
          <ac:picMkLst>
            <pc:docMk/>
            <pc:sldMk cId="696420767" sldId="273"/>
            <ac:picMk id="12" creationId="{CAAADEBE-4E53-33D2-B01F-2AF8324E7600}"/>
          </ac:picMkLst>
        </pc:picChg>
        <pc:picChg chg="del">
          <ac:chgData name="Knuepling, Matthias" userId="94f8fd53-976b-4af5-a5cb-36a34d046709" providerId="ADAL" clId="{4547E91D-042E-4829-9A50-46F7D965AE72}" dt="2023-10-20T09:15:45.620" v="124" actId="478"/>
          <ac:picMkLst>
            <pc:docMk/>
            <pc:sldMk cId="696420767" sldId="273"/>
            <ac:picMk id="13" creationId="{BB0C1DBA-13C8-48A0-589C-E946B75B9EA9}"/>
          </ac:picMkLst>
        </pc:picChg>
        <pc:picChg chg="del">
          <ac:chgData name="Knuepling, Matthias" userId="94f8fd53-976b-4af5-a5cb-36a34d046709" providerId="ADAL" clId="{4547E91D-042E-4829-9A50-46F7D965AE72}" dt="2023-10-20T09:15:45.620" v="124" actId="478"/>
          <ac:picMkLst>
            <pc:docMk/>
            <pc:sldMk cId="696420767" sldId="273"/>
            <ac:picMk id="14" creationId="{8EF2EB1A-C759-7F7D-8377-B3828EA9C188}"/>
          </ac:picMkLst>
        </pc:picChg>
        <pc:picChg chg="mod">
          <ac:chgData name="Knuepling, Matthias" userId="94f8fd53-976b-4af5-a5cb-36a34d046709" providerId="ADAL" clId="{4547E91D-042E-4829-9A50-46F7D965AE72}" dt="2023-10-20T09:21:32.327" v="190" actId="1038"/>
          <ac:picMkLst>
            <pc:docMk/>
            <pc:sldMk cId="696420767" sldId="273"/>
            <ac:picMk id="20" creationId="{B9A58551-42E3-A279-B6CD-EE50B45CF86A}"/>
          </ac:picMkLst>
        </pc:picChg>
      </pc:sldChg>
      <pc:sldChg chg="addSp delSp modSp mod">
        <pc:chgData name="Knuepling, Matthias" userId="94f8fd53-976b-4af5-a5cb-36a34d046709" providerId="ADAL" clId="{4547E91D-042E-4829-9A50-46F7D965AE72}" dt="2023-10-20T10:57:44.032" v="600" actId="208"/>
        <pc:sldMkLst>
          <pc:docMk/>
          <pc:sldMk cId="413129895" sldId="2134808584"/>
        </pc:sldMkLst>
        <pc:spChg chg="mod">
          <ac:chgData name="Knuepling, Matthias" userId="94f8fd53-976b-4af5-a5cb-36a34d046709" providerId="ADAL" clId="{4547E91D-042E-4829-9A50-46F7D965AE72}" dt="2023-10-20T10:25:21.248" v="463" actId="14100"/>
          <ac:spMkLst>
            <pc:docMk/>
            <pc:sldMk cId="413129895" sldId="2134808584"/>
            <ac:spMk id="6" creationId="{C4B559C2-F4FD-445E-72B8-DD4AFED8F322}"/>
          </ac:spMkLst>
        </pc:spChg>
        <pc:spChg chg="del">
          <ac:chgData name="Knuepling, Matthias" userId="94f8fd53-976b-4af5-a5cb-36a34d046709" providerId="ADAL" clId="{4547E91D-042E-4829-9A50-46F7D965AE72}" dt="2023-10-20T09:22:40.297" v="191" actId="478"/>
          <ac:spMkLst>
            <pc:docMk/>
            <pc:sldMk cId="413129895" sldId="2134808584"/>
            <ac:spMk id="7" creationId="{AAC1CB59-0611-F362-1432-56CBDD4A701D}"/>
          </ac:spMkLst>
        </pc:spChg>
        <pc:spChg chg="mod">
          <ac:chgData name="Knuepling, Matthias" userId="94f8fd53-976b-4af5-a5cb-36a34d046709" providerId="ADAL" clId="{4547E91D-042E-4829-9A50-46F7D965AE72}" dt="2023-10-20T10:25:25.684" v="464" actId="14100"/>
          <ac:spMkLst>
            <pc:docMk/>
            <pc:sldMk cId="413129895" sldId="2134808584"/>
            <ac:spMk id="8" creationId="{30ACE908-7DFB-A7F9-5726-412917FCF633}"/>
          </ac:spMkLst>
        </pc:spChg>
        <pc:spChg chg="del mod">
          <ac:chgData name="Knuepling, Matthias" userId="94f8fd53-976b-4af5-a5cb-36a34d046709" providerId="ADAL" clId="{4547E91D-042E-4829-9A50-46F7D965AE72}" dt="2023-10-20T10:23:02.361" v="437" actId="478"/>
          <ac:spMkLst>
            <pc:docMk/>
            <pc:sldMk cId="413129895" sldId="2134808584"/>
            <ac:spMk id="10" creationId="{97D16342-3C98-7E3B-BBE6-FF08EB662A8E}"/>
          </ac:spMkLst>
        </pc:spChg>
        <pc:spChg chg="mod topLvl">
          <ac:chgData name="Knuepling, Matthias" userId="94f8fd53-976b-4af5-a5cb-36a34d046709" providerId="ADAL" clId="{4547E91D-042E-4829-9A50-46F7D965AE72}" dt="2023-10-20T10:24:41.629" v="449" actId="164"/>
          <ac:spMkLst>
            <pc:docMk/>
            <pc:sldMk cId="413129895" sldId="2134808584"/>
            <ac:spMk id="215" creationId="{47BF95DC-A34B-512C-7637-86D9247284A0}"/>
          </ac:spMkLst>
        </pc:spChg>
        <pc:grpChg chg="add mod">
          <ac:chgData name="Knuepling, Matthias" userId="94f8fd53-976b-4af5-a5cb-36a34d046709" providerId="ADAL" clId="{4547E91D-042E-4829-9A50-46F7D965AE72}" dt="2023-10-20T10:25:12.193" v="462" actId="1036"/>
          <ac:grpSpMkLst>
            <pc:docMk/>
            <pc:sldMk cId="413129895" sldId="2134808584"/>
            <ac:grpSpMk id="2" creationId="{B6FF3CF4-0A3E-4CD4-086D-11FF1D46CF5E}"/>
          </ac:grpSpMkLst>
        </pc:grpChg>
        <pc:grpChg chg="del mod">
          <ac:chgData name="Knuepling, Matthias" userId="94f8fd53-976b-4af5-a5cb-36a34d046709" providerId="ADAL" clId="{4547E91D-042E-4829-9A50-46F7D965AE72}" dt="2023-10-20T10:24:33.546" v="448" actId="165"/>
          <ac:grpSpMkLst>
            <pc:docMk/>
            <pc:sldMk cId="413129895" sldId="2134808584"/>
            <ac:grpSpMk id="218" creationId="{144815AB-E27E-ABBA-7AE6-5D634D6ECDAF}"/>
          </ac:grpSpMkLst>
        </pc:grpChg>
        <pc:picChg chg="add del mod">
          <ac:chgData name="Knuepling, Matthias" userId="94f8fd53-976b-4af5-a5cb-36a34d046709" providerId="ADAL" clId="{4547E91D-042E-4829-9A50-46F7D965AE72}" dt="2023-10-20T10:28:26.665" v="475" actId="478"/>
          <ac:picMkLst>
            <pc:docMk/>
            <pc:sldMk cId="413129895" sldId="2134808584"/>
            <ac:picMk id="4" creationId="{EDFEE001-BA27-EE05-1F2F-7331133F9CA2}"/>
          </ac:picMkLst>
        </pc:picChg>
        <pc:picChg chg="add mod modCrop">
          <ac:chgData name="Knuepling, Matthias" userId="94f8fd53-976b-4af5-a5cb-36a34d046709" providerId="ADAL" clId="{4547E91D-042E-4829-9A50-46F7D965AE72}" dt="2023-10-20T10:57:44.032" v="600" actId="208"/>
          <ac:picMkLst>
            <pc:docMk/>
            <pc:sldMk cId="413129895" sldId="2134808584"/>
            <ac:picMk id="9" creationId="{B9F60596-E159-B32B-5A11-DA811A0AEB4B}"/>
          </ac:picMkLst>
        </pc:picChg>
        <pc:picChg chg="mod topLvl">
          <ac:chgData name="Knuepling, Matthias" userId="94f8fd53-976b-4af5-a5cb-36a34d046709" providerId="ADAL" clId="{4547E91D-042E-4829-9A50-46F7D965AE72}" dt="2023-10-20T10:24:41.629" v="449" actId="164"/>
          <ac:picMkLst>
            <pc:docMk/>
            <pc:sldMk cId="413129895" sldId="2134808584"/>
            <ac:picMk id="213" creationId="{350B6BC7-B66A-CDBF-EFE3-00B3C0B88BA3}"/>
          </ac:picMkLst>
        </pc:picChg>
      </pc:sldChg>
      <pc:sldChg chg="addSp delSp modSp mod">
        <pc:chgData name="Knuepling, Matthias" userId="94f8fd53-976b-4af5-a5cb-36a34d046709" providerId="ADAL" clId="{4547E91D-042E-4829-9A50-46F7D965AE72}" dt="2023-10-20T10:58:14.692" v="605" actId="208"/>
        <pc:sldMkLst>
          <pc:docMk/>
          <pc:sldMk cId="4080135963" sldId="2134808588"/>
        </pc:sldMkLst>
        <pc:spChg chg="del">
          <ac:chgData name="Knuepling, Matthias" userId="94f8fd53-976b-4af5-a5cb-36a34d046709" providerId="ADAL" clId="{4547E91D-042E-4829-9A50-46F7D965AE72}" dt="2023-10-20T08:56:57.087" v="11" actId="478"/>
          <ac:spMkLst>
            <pc:docMk/>
            <pc:sldMk cId="4080135963" sldId="2134808588"/>
            <ac:spMk id="3" creationId="{7270F876-83E7-4CEB-BBED-A1D9A59A25C1}"/>
          </ac:spMkLst>
        </pc:spChg>
        <pc:spChg chg="add del mod modCrop">
          <ac:chgData name="Knuepling, Matthias" userId="94f8fd53-976b-4af5-a5cb-36a34d046709" providerId="ADAL" clId="{4547E91D-042E-4829-9A50-46F7D965AE72}" dt="2023-10-20T09:07:35.205" v="73" actId="478"/>
          <ac:spMkLst>
            <pc:docMk/>
            <pc:sldMk cId="4080135963" sldId="2134808588"/>
            <ac:spMk id="5" creationId="{C0CE3971-E52C-D1F3-D070-179A9D2C3699}"/>
          </ac:spMkLst>
        </pc:spChg>
        <pc:spChg chg="add mod modCrop">
          <ac:chgData name="Knuepling, Matthias" userId="94f8fd53-976b-4af5-a5cb-36a34d046709" providerId="ADAL" clId="{4547E91D-042E-4829-9A50-46F7D965AE72}" dt="2023-10-20T10:58:14.692" v="605" actId="208"/>
          <ac:spMkLst>
            <pc:docMk/>
            <pc:sldMk cId="4080135963" sldId="2134808588"/>
            <ac:spMk id="6" creationId="{E2AB560D-A63C-650D-2032-1D66DFF349E8}"/>
          </ac:spMkLst>
        </pc:spChg>
        <pc:spChg chg="mod">
          <ac:chgData name="Knuepling, Matthias" userId="94f8fd53-976b-4af5-a5cb-36a34d046709" providerId="ADAL" clId="{4547E91D-042E-4829-9A50-46F7D965AE72}" dt="2023-10-20T09:09:00.470" v="83" actId="404"/>
          <ac:spMkLst>
            <pc:docMk/>
            <pc:sldMk cId="4080135963" sldId="2134808588"/>
            <ac:spMk id="16" creationId="{733493E0-5D98-0908-EF48-F96F491D3607}"/>
          </ac:spMkLst>
        </pc:spChg>
        <pc:spChg chg="mod modCrop">
          <ac:chgData name="Knuepling, Matthias" userId="94f8fd53-976b-4af5-a5cb-36a34d046709" providerId="ADAL" clId="{4547E91D-042E-4829-9A50-46F7D965AE72}" dt="2023-10-20T10:58:09.300" v="603" actId="208"/>
          <ac:spMkLst>
            <pc:docMk/>
            <pc:sldMk cId="4080135963" sldId="2134808588"/>
            <ac:spMk id="21" creationId="{834BA593-5D2B-0E61-C5A6-6F18026350C3}"/>
          </ac:spMkLst>
        </pc:spChg>
        <pc:spChg chg="mod">
          <ac:chgData name="Knuepling, Matthias" userId="94f8fd53-976b-4af5-a5cb-36a34d046709" providerId="ADAL" clId="{4547E91D-042E-4829-9A50-46F7D965AE72}" dt="2023-10-20T10:58:10.860" v="604" actId="208"/>
          <ac:spMkLst>
            <pc:docMk/>
            <pc:sldMk cId="4080135963" sldId="2134808588"/>
            <ac:spMk id="22" creationId="{53FDF0FA-4262-5F9B-933C-B9EB00DEBA3B}"/>
          </ac:spMkLst>
        </pc:spChg>
        <pc:spChg chg="del">
          <ac:chgData name="Knuepling, Matthias" userId="94f8fd53-976b-4af5-a5cb-36a34d046709" providerId="ADAL" clId="{4547E91D-042E-4829-9A50-46F7D965AE72}" dt="2023-10-20T09:03:07.652" v="38" actId="478"/>
          <ac:spMkLst>
            <pc:docMk/>
            <pc:sldMk cId="4080135963" sldId="2134808588"/>
            <ac:spMk id="24" creationId="{903183AD-13C4-5956-1895-087FB33B56E1}"/>
          </ac:spMkLst>
        </pc:spChg>
        <pc:picChg chg="del">
          <ac:chgData name="Knuepling, Matthias" userId="94f8fd53-976b-4af5-a5cb-36a34d046709" providerId="ADAL" clId="{4547E91D-042E-4829-9A50-46F7D965AE72}" dt="2023-10-20T09:04:18.951" v="43" actId="478"/>
          <ac:picMkLst>
            <pc:docMk/>
            <pc:sldMk cId="4080135963" sldId="2134808588"/>
            <ac:picMk id="63" creationId="{3C1DE6E1-1559-6DD1-65E5-682A42C713A0}"/>
          </ac:picMkLst>
        </pc:picChg>
      </pc:sldChg>
      <pc:sldChg chg="addSp delSp modSp mod">
        <pc:chgData name="Knuepling, Matthias" userId="94f8fd53-976b-4af5-a5cb-36a34d046709" providerId="ADAL" clId="{4547E91D-042E-4829-9A50-46F7D965AE72}" dt="2023-10-20T10:58:05.620" v="602" actId="208"/>
        <pc:sldMkLst>
          <pc:docMk/>
          <pc:sldMk cId="1263802595" sldId="2134808589"/>
        </pc:sldMkLst>
        <pc:spChg chg="del">
          <ac:chgData name="Knuepling, Matthias" userId="94f8fd53-976b-4af5-a5cb-36a34d046709" providerId="ADAL" clId="{4547E91D-042E-4829-9A50-46F7D965AE72}" dt="2023-10-20T09:09:46.726" v="86" actId="478"/>
          <ac:spMkLst>
            <pc:docMk/>
            <pc:sldMk cId="1263802595" sldId="2134808589"/>
            <ac:spMk id="3" creationId="{7270F876-83E7-4CEB-BBED-A1D9A59A25C1}"/>
          </ac:spMkLst>
        </pc:spChg>
        <pc:spChg chg="add del">
          <ac:chgData name="Knuepling, Matthias" userId="94f8fd53-976b-4af5-a5cb-36a34d046709" providerId="ADAL" clId="{4547E91D-042E-4829-9A50-46F7D965AE72}" dt="2023-10-20T10:35:54.118" v="527" actId="478"/>
          <ac:spMkLst>
            <pc:docMk/>
            <pc:sldMk cId="1263802595" sldId="2134808589"/>
            <ac:spMk id="7" creationId="{AB15C43B-8F39-7068-7300-5B7E31850FF4}"/>
          </ac:spMkLst>
        </pc:spChg>
        <pc:spChg chg="add del">
          <ac:chgData name="Knuepling, Matthias" userId="94f8fd53-976b-4af5-a5cb-36a34d046709" providerId="ADAL" clId="{4547E91D-042E-4829-9A50-46F7D965AE72}" dt="2023-10-20T10:36:57.479" v="531" actId="478"/>
          <ac:spMkLst>
            <pc:docMk/>
            <pc:sldMk cId="1263802595" sldId="2134808589"/>
            <ac:spMk id="9" creationId="{5932E21B-EB04-6691-E82F-E790915D88B8}"/>
          </ac:spMkLst>
        </pc:spChg>
        <pc:spChg chg="mod">
          <ac:chgData name="Knuepling, Matthias" userId="94f8fd53-976b-4af5-a5cb-36a34d046709" providerId="ADAL" clId="{4547E91D-042E-4829-9A50-46F7D965AE72}" dt="2023-10-20T10:37:28.246" v="534" actId="403"/>
          <ac:spMkLst>
            <pc:docMk/>
            <pc:sldMk cId="1263802595" sldId="2134808589"/>
            <ac:spMk id="24" creationId="{D77A953F-956A-C52C-8781-565811EEF24A}"/>
          </ac:spMkLst>
        </pc:spChg>
        <pc:spChg chg="mod">
          <ac:chgData name="Knuepling, Matthias" userId="94f8fd53-976b-4af5-a5cb-36a34d046709" providerId="ADAL" clId="{4547E91D-042E-4829-9A50-46F7D965AE72}" dt="2023-10-20T10:37:20.916" v="533" actId="14100"/>
          <ac:spMkLst>
            <pc:docMk/>
            <pc:sldMk cId="1263802595" sldId="2134808589"/>
            <ac:spMk id="25" creationId="{A105CAFD-3F3A-57E1-0DD4-38A807DD9FD7}"/>
          </ac:spMkLst>
        </pc:spChg>
        <pc:spChg chg="mod">
          <ac:chgData name="Knuepling, Matthias" userId="94f8fd53-976b-4af5-a5cb-36a34d046709" providerId="ADAL" clId="{4547E91D-042E-4829-9A50-46F7D965AE72}" dt="2023-10-20T10:34:47.156" v="524" actId="1035"/>
          <ac:spMkLst>
            <pc:docMk/>
            <pc:sldMk cId="1263802595" sldId="2134808589"/>
            <ac:spMk id="27" creationId="{DDEAF941-13DB-5696-B5F5-685813FFFE1D}"/>
          </ac:spMkLst>
        </pc:spChg>
        <pc:spChg chg="del mod">
          <ac:chgData name="Knuepling, Matthias" userId="94f8fd53-976b-4af5-a5cb-36a34d046709" providerId="ADAL" clId="{4547E91D-042E-4829-9A50-46F7D965AE72}" dt="2023-10-20T10:31:03.416" v="478" actId="478"/>
          <ac:spMkLst>
            <pc:docMk/>
            <pc:sldMk cId="1263802595" sldId="2134808589"/>
            <ac:spMk id="39" creationId="{0AEE0743-D8A5-EC2A-05F9-6020E41B5CCC}"/>
          </ac:spMkLst>
        </pc:spChg>
        <pc:spChg chg="mod">
          <ac:chgData name="Knuepling, Matthias" userId="94f8fd53-976b-4af5-a5cb-36a34d046709" providerId="ADAL" clId="{4547E91D-042E-4829-9A50-46F7D965AE72}" dt="2023-10-20T10:34:56.339" v="525" actId="1076"/>
          <ac:spMkLst>
            <pc:docMk/>
            <pc:sldMk cId="1263802595" sldId="2134808589"/>
            <ac:spMk id="43" creationId="{C02B8BA4-1383-CE7F-4D85-94B2ECDA21C7}"/>
          </ac:spMkLst>
        </pc:spChg>
        <pc:spChg chg="mod">
          <ac:chgData name="Knuepling, Matthias" userId="94f8fd53-976b-4af5-a5cb-36a34d046709" providerId="ADAL" clId="{4547E91D-042E-4829-9A50-46F7D965AE72}" dt="2023-10-20T10:34:56.339" v="525" actId="1076"/>
          <ac:spMkLst>
            <pc:docMk/>
            <pc:sldMk cId="1263802595" sldId="2134808589"/>
            <ac:spMk id="44" creationId="{FBBD2918-5CD8-2451-57A0-3E7C455A46FB}"/>
          </ac:spMkLst>
        </pc:spChg>
        <pc:grpChg chg="mod">
          <ac:chgData name="Knuepling, Matthias" userId="94f8fd53-976b-4af5-a5cb-36a34d046709" providerId="ADAL" clId="{4547E91D-042E-4829-9A50-46F7D965AE72}" dt="2023-10-20T10:34:39.367" v="515" actId="1037"/>
          <ac:grpSpMkLst>
            <pc:docMk/>
            <pc:sldMk cId="1263802595" sldId="2134808589"/>
            <ac:grpSpMk id="28" creationId="{6C1FE3C8-27DA-92F3-34BA-14E1C35DE9CE}"/>
          </ac:grpSpMkLst>
        </pc:grpChg>
        <pc:grpChg chg="mod">
          <ac:chgData name="Knuepling, Matthias" userId="94f8fd53-976b-4af5-a5cb-36a34d046709" providerId="ADAL" clId="{4547E91D-042E-4829-9A50-46F7D965AE72}" dt="2023-10-20T10:34:56.339" v="525" actId="1076"/>
          <ac:grpSpMkLst>
            <pc:docMk/>
            <pc:sldMk cId="1263802595" sldId="2134808589"/>
            <ac:grpSpMk id="45" creationId="{9B896013-E6DE-F27A-090C-B11627208F78}"/>
          </ac:grpSpMkLst>
        </pc:grpChg>
        <pc:graphicFrameChg chg="add del mod">
          <ac:chgData name="Knuepling, Matthias" userId="94f8fd53-976b-4af5-a5cb-36a34d046709" providerId="ADAL" clId="{4547E91D-042E-4829-9A50-46F7D965AE72}" dt="2023-10-20T10:36:26.080" v="529" actId="12084"/>
          <ac:graphicFrameMkLst>
            <pc:docMk/>
            <pc:sldMk cId="1263802595" sldId="2134808589"/>
            <ac:graphicFrameMk id="8" creationId="{C7DCDC48-5066-9E4E-1826-9EF75FE5574D}"/>
          </ac:graphicFrameMkLst>
        </pc:graphicFrameChg>
        <pc:picChg chg="add del mod modCrop">
          <ac:chgData name="Knuepling, Matthias" userId="94f8fd53-976b-4af5-a5cb-36a34d046709" providerId="ADAL" clId="{4547E91D-042E-4829-9A50-46F7D965AE72}" dt="2023-10-20T10:58:05.620" v="602" actId="208"/>
          <ac:picMkLst>
            <pc:docMk/>
            <pc:sldMk cId="1263802595" sldId="2134808589"/>
            <ac:picMk id="6" creationId="{C1DA2F16-3887-2574-B1AE-33458069EDE6}"/>
          </ac:picMkLst>
        </pc:picChg>
        <pc:picChg chg="mod">
          <ac:chgData name="Knuepling, Matthias" userId="94f8fd53-976b-4af5-a5cb-36a34d046709" providerId="ADAL" clId="{4547E91D-042E-4829-9A50-46F7D965AE72}" dt="2023-10-20T09:34:39.834" v="280" actId="1035"/>
          <ac:picMkLst>
            <pc:docMk/>
            <pc:sldMk cId="1263802595" sldId="2134808589"/>
            <ac:picMk id="21" creationId="{4E34EAA1-23FE-07B0-138B-0BCD1EFEEF87}"/>
          </ac:picMkLst>
        </pc:picChg>
        <pc:picChg chg="mod">
          <ac:chgData name="Knuepling, Matthias" userId="94f8fd53-976b-4af5-a5cb-36a34d046709" providerId="ADAL" clId="{4547E91D-042E-4829-9A50-46F7D965AE72}" dt="2023-10-20T10:33:57.084" v="500" actId="14100"/>
          <ac:picMkLst>
            <pc:docMk/>
            <pc:sldMk cId="1263802595" sldId="2134808589"/>
            <ac:picMk id="22" creationId="{6C722EE0-78B9-4FA2-8743-BD21BCD4160E}"/>
          </ac:picMkLst>
        </pc:picChg>
        <pc:picChg chg="mod">
          <ac:chgData name="Knuepling, Matthias" userId="94f8fd53-976b-4af5-a5cb-36a34d046709" providerId="ADAL" clId="{4547E91D-042E-4829-9A50-46F7D965AE72}" dt="2023-10-20T10:33:53.417" v="499" actId="1076"/>
          <ac:picMkLst>
            <pc:docMk/>
            <pc:sldMk cId="1263802595" sldId="2134808589"/>
            <ac:picMk id="23" creationId="{BDCBD6E1-F3D9-28ED-09A5-CC587A1F8AEE}"/>
          </ac:picMkLst>
        </pc:picChg>
        <pc:picChg chg="mod">
          <ac:chgData name="Knuepling, Matthias" userId="94f8fd53-976b-4af5-a5cb-36a34d046709" providerId="ADAL" clId="{4547E91D-042E-4829-9A50-46F7D965AE72}" dt="2023-10-20T10:34:56.339" v="525" actId="1076"/>
          <ac:picMkLst>
            <pc:docMk/>
            <pc:sldMk cId="1263802595" sldId="2134808589"/>
            <ac:picMk id="40" creationId="{6DF142C3-3C94-98D8-43A1-118ACDDA0DB3}"/>
          </ac:picMkLst>
        </pc:picChg>
        <pc:picChg chg="mod">
          <ac:chgData name="Knuepling, Matthias" userId="94f8fd53-976b-4af5-a5cb-36a34d046709" providerId="ADAL" clId="{4547E91D-042E-4829-9A50-46F7D965AE72}" dt="2023-10-20T10:34:56.339" v="525" actId="1076"/>
          <ac:picMkLst>
            <pc:docMk/>
            <pc:sldMk cId="1263802595" sldId="2134808589"/>
            <ac:picMk id="41" creationId="{EAB4D2BF-F230-6024-AABC-810B944A2E7E}"/>
          </ac:picMkLst>
        </pc:picChg>
        <pc:picChg chg="mod">
          <ac:chgData name="Knuepling, Matthias" userId="94f8fd53-976b-4af5-a5cb-36a34d046709" providerId="ADAL" clId="{4547E91D-042E-4829-9A50-46F7D965AE72}" dt="2023-10-20T10:34:56.339" v="525" actId="1076"/>
          <ac:picMkLst>
            <pc:docMk/>
            <pc:sldMk cId="1263802595" sldId="2134808589"/>
            <ac:picMk id="42" creationId="{B2A86BCB-FAD1-4408-EF95-59BBF55F8255}"/>
          </ac:picMkLst>
        </pc:picChg>
      </pc:sldChg>
      <pc:sldChg chg="addSp delSp modSp add mod setBg">
        <pc:chgData name="Knuepling, Matthias" userId="94f8fd53-976b-4af5-a5cb-36a34d046709" providerId="ADAL" clId="{4547E91D-042E-4829-9A50-46F7D965AE72}" dt="2023-10-20T09:50:22.244" v="435" actId="465"/>
        <pc:sldMkLst>
          <pc:docMk/>
          <pc:sldMk cId="1628672433" sldId="2134808592"/>
        </pc:sldMkLst>
        <pc:spChg chg="del">
          <ac:chgData name="Knuepling, Matthias" userId="94f8fd53-976b-4af5-a5cb-36a34d046709" providerId="ADAL" clId="{4547E91D-042E-4829-9A50-46F7D965AE72}" dt="2023-10-20T09:43:36.961" v="287" actId="478"/>
          <ac:spMkLst>
            <pc:docMk/>
            <pc:sldMk cId="1628672433" sldId="2134808592"/>
            <ac:spMk id="2" creationId="{30598B62-04C9-4ED6-9ACB-9AD73BD54E9E}"/>
          </ac:spMkLst>
        </pc:spChg>
        <pc:spChg chg="del">
          <ac:chgData name="Knuepling, Matthias" userId="94f8fd53-976b-4af5-a5cb-36a34d046709" providerId="ADAL" clId="{4547E91D-042E-4829-9A50-46F7D965AE72}" dt="2023-10-20T09:43:32.072" v="285" actId="478"/>
          <ac:spMkLst>
            <pc:docMk/>
            <pc:sldMk cId="1628672433" sldId="2134808592"/>
            <ac:spMk id="4" creationId="{F5578236-5E80-418E-AE57-0C6901D6B0F1}"/>
          </ac:spMkLst>
        </pc:spChg>
        <pc:spChg chg="add del mod">
          <ac:chgData name="Knuepling, Matthias" userId="94f8fd53-976b-4af5-a5cb-36a34d046709" providerId="ADAL" clId="{4547E91D-042E-4829-9A50-46F7D965AE72}" dt="2023-10-20T09:43:34.885" v="286" actId="478"/>
          <ac:spMkLst>
            <pc:docMk/>
            <pc:sldMk cId="1628672433" sldId="2134808592"/>
            <ac:spMk id="5" creationId="{BF278862-5ED1-191E-B8A4-8126BAE49208}"/>
          </ac:spMkLst>
        </pc:spChg>
        <pc:spChg chg="del">
          <ac:chgData name="Knuepling, Matthias" userId="94f8fd53-976b-4af5-a5cb-36a34d046709" providerId="ADAL" clId="{4547E91D-042E-4829-9A50-46F7D965AE72}" dt="2023-10-20T09:43:42.162" v="292" actId="478"/>
          <ac:spMkLst>
            <pc:docMk/>
            <pc:sldMk cId="1628672433" sldId="2134808592"/>
            <ac:spMk id="6" creationId="{E2AB560D-A63C-650D-2032-1D66DFF349E8}"/>
          </ac:spMkLst>
        </pc:spChg>
        <pc:spChg chg="add mod">
          <ac:chgData name="Knuepling, Matthias" userId="94f8fd53-976b-4af5-a5cb-36a34d046709" providerId="ADAL" clId="{4547E91D-042E-4829-9A50-46F7D965AE72}" dt="2023-10-20T09:49:55.471" v="434" actId="1036"/>
          <ac:spMkLst>
            <pc:docMk/>
            <pc:sldMk cId="1628672433" sldId="2134808592"/>
            <ac:spMk id="8" creationId="{9290AF1F-0777-2F58-BBF1-870DA04F4B15}"/>
          </ac:spMkLst>
        </pc:spChg>
        <pc:spChg chg="add del mod">
          <ac:chgData name="Knuepling, Matthias" userId="94f8fd53-976b-4af5-a5cb-36a34d046709" providerId="ADAL" clId="{4547E91D-042E-4829-9A50-46F7D965AE72}" dt="2023-10-20T09:47:45.426" v="375"/>
          <ac:spMkLst>
            <pc:docMk/>
            <pc:sldMk cId="1628672433" sldId="2134808592"/>
            <ac:spMk id="11" creationId="{730E212A-5D04-FCA3-B411-8B168792A7DF}"/>
          </ac:spMkLst>
        </pc:spChg>
        <pc:spChg chg="add del mod">
          <ac:chgData name="Knuepling, Matthias" userId="94f8fd53-976b-4af5-a5cb-36a34d046709" providerId="ADAL" clId="{4547E91D-042E-4829-9A50-46F7D965AE72}" dt="2023-10-20T09:47:45.426" v="375"/>
          <ac:spMkLst>
            <pc:docMk/>
            <pc:sldMk cId="1628672433" sldId="2134808592"/>
            <ac:spMk id="12" creationId="{7D00CF91-18E9-C79C-526A-68BD7FF98742}"/>
          </ac:spMkLst>
        </pc:spChg>
        <pc:spChg chg="add mod">
          <ac:chgData name="Knuepling, Matthias" userId="94f8fd53-976b-4af5-a5cb-36a34d046709" providerId="ADAL" clId="{4547E91D-042E-4829-9A50-46F7D965AE72}" dt="2023-10-20T09:50:22.244" v="435" actId="465"/>
          <ac:spMkLst>
            <pc:docMk/>
            <pc:sldMk cId="1628672433" sldId="2134808592"/>
            <ac:spMk id="13" creationId="{758191C3-F0F9-7F79-FE0E-B7C9E3E67D74}"/>
          </ac:spMkLst>
        </pc:spChg>
        <pc:spChg chg="add mod">
          <ac:chgData name="Knuepling, Matthias" userId="94f8fd53-976b-4af5-a5cb-36a34d046709" providerId="ADAL" clId="{4547E91D-042E-4829-9A50-46F7D965AE72}" dt="2023-10-20T09:49:44.196" v="429" actId="207"/>
          <ac:spMkLst>
            <pc:docMk/>
            <pc:sldMk cId="1628672433" sldId="2134808592"/>
            <ac:spMk id="14" creationId="{DE88CFF0-11C5-5B0E-DC95-A32AA7B39EA4}"/>
          </ac:spMkLst>
        </pc:spChg>
        <pc:spChg chg="add del">
          <ac:chgData name="Knuepling, Matthias" userId="94f8fd53-976b-4af5-a5cb-36a34d046709" providerId="ADAL" clId="{4547E91D-042E-4829-9A50-46F7D965AE72}" dt="2023-10-20T09:45:40.025" v="324" actId="26606"/>
          <ac:spMkLst>
            <pc:docMk/>
            <pc:sldMk cId="1628672433" sldId="2134808592"/>
            <ac:spMk id="15" creationId="{BCED4D40-4B67-4331-AC48-79B82B4A47D8}"/>
          </ac:spMkLst>
        </pc:spChg>
        <pc:spChg chg="del mod">
          <ac:chgData name="Knuepling, Matthias" userId="94f8fd53-976b-4af5-a5cb-36a34d046709" providerId="ADAL" clId="{4547E91D-042E-4829-9A50-46F7D965AE72}" dt="2023-10-20T09:43:39.986" v="290" actId="478"/>
          <ac:spMkLst>
            <pc:docMk/>
            <pc:sldMk cId="1628672433" sldId="2134808592"/>
            <ac:spMk id="16" creationId="{733493E0-5D98-0908-EF48-F96F491D3607}"/>
          </ac:spMkLst>
        </pc:spChg>
        <pc:spChg chg="add del">
          <ac:chgData name="Knuepling, Matthias" userId="94f8fd53-976b-4af5-a5cb-36a34d046709" providerId="ADAL" clId="{4547E91D-042E-4829-9A50-46F7D965AE72}" dt="2023-10-20T09:45:40.025" v="324" actId="26606"/>
          <ac:spMkLst>
            <pc:docMk/>
            <pc:sldMk cId="1628672433" sldId="2134808592"/>
            <ac:spMk id="17" creationId="{670CEDEF-4F34-412E-84EE-329C1E936AF5}"/>
          </ac:spMkLst>
        </pc:spChg>
        <pc:spChg chg="del">
          <ac:chgData name="Knuepling, Matthias" userId="94f8fd53-976b-4af5-a5cb-36a34d046709" providerId="ADAL" clId="{4547E91D-042E-4829-9A50-46F7D965AE72}" dt="2023-10-20T09:43:37.967" v="288" actId="478"/>
          <ac:spMkLst>
            <pc:docMk/>
            <pc:sldMk cId="1628672433" sldId="2134808592"/>
            <ac:spMk id="21" creationId="{834BA593-5D2B-0E61-C5A6-6F18026350C3}"/>
          </ac:spMkLst>
        </pc:spChg>
        <pc:spChg chg="del">
          <ac:chgData name="Knuepling, Matthias" userId="94f8fd53-976b-4af5-a5cb-36a34d046709" providerId="ADAL" clId="{4547E91D-042E-4829-9A50-46F7D965AE72}" dt="2023-10-20T09:43:41.042" v="291" actId="478"/>
          <ac:spMkLst>
            <pc:docMk/>
            <pc:sldMk cId="1628672433" sldId="2134808592"/>
            <ac:spMk id="22" creationId="{53FDF0FA-4262-5F9B-933C-B9EB00DEBA3B}"/>
          </ac:spMkLst>
        </pc:spChg>
        <pc:picChg chg="add mod ord">
          <ac:chgData name="Knuepling, Matthias" userId="94f8fd53-976b-4af5-a5cb-36a34d046709" providerId="ADAL" clId="{4547E91D-042E-4829-9A50-46F7D965AE72}" dt="2023-10-20T09:46:39.219" v="363" actId="171"/>
          <ac:picMkLst>
            <pc:docMk/>
            <pc:sldMk cId="1628672433" sldId="2134808592"/>
            <ac:picMk id="10" creationId="{E356E0A4-3402-3744-50F6-D853DBBCE364}"/>
          </ac:picMkLst>
        </pc:picChg>
      </pc:sldChg>
      <pc:sldChg chg="addSp delSp modSp del mod">
        <pc:chgData name="Knuepling, Matthias" userId="94f8fd53-976b-4af5-a5cb-36a34d046709" providerId="ADAL" clId="{4547E91D-042E-4829-9A50-46F7D965AE72}" dt="2023-10-20T09:09:15.289" v="84" actId="47"/>
        <pc:sldMkLst>
          <pc:docMk/>
          <pc:sldMk cId="108638664" sldId="2134808593"/>
        </pc:sldMkLst>
        <pc:spChg chg="add del mod">
          <ac:chgData name="Knuepling, Matthias" userId="94f8fd53-976b-4af5-a5cb-36a34d046709" providerId="ADAL" clId="{4547E91D-042E-4829-9A50-46F7D965AE72}" dt="2023-10-20T08:59:15.726" v="37" actId="478"/>
          <ac:spMkLst>
            <pc:docMk/>
            <pc:sldMk cId="108638664" sldId="2134808593"/>
            <ac:spMk id="5" creationId="{47A7F377-495A-6C4B-5835-743933FF0280}"/>
          </ac:spMkLst>
        </pc:spChg>
        <pc:spChg chg="del">
          <ac:chgData name="Knuepling, Matthias" userId="94f8fd53-976b-4af5-a5cb-36a34d046709" providerId="ADAL" clId="{4547E91D-042E-4829-9A50-46F7D965AE72}" dt="2023-10-20T08:57:24.140" v="14" actId="478"/>
          <ac:spMkLst>
            <pc:docMk/>
            <pc:sldMk cId="108638664" sldId="2134808593"/>
            <ac:spMk id="6" creationId="{262C2249-9087-41FD-A811-9F9FE2232F47}"/>
          </ac:spMkLst>
        </pc:spChg>
        <pc:spChg chg="del">
          <ac:chgData name="Knuepling, Matthias" userId="94f8fd53-976b-4af5-a5cb-36a34d046709" providerId="ADAL" clId="{4547E91D-042E-4829-9A50-46F7D965AE72}" dt="2023-10-20T08:59:03.907" v="35" actId="478"/>
          <ac:spMkLst>
            <pc:docMk/>
            <pc:sldMk cId="108638664" sldId="2134808593"/>
            <ac:spMk id="7" creationId="{7DA60449-0032-4541-A054-9E152EE9B7D1}"/>
          </ac:spMkLst>
        </pc:spChg>
        <pc:spChg chg="mod">
          <ac:chgData name="Knuepling, Matthias" userId="94f8fd53-976b-4af5-a5cb-36a34d046709" providerId="ADAL" clId="{4547E91D-042E-4829-9A50-46F7D965AE72}" dt="2023-10-20T08:58:20.789" v="16" actId="1076"/>
          <ac:spMkLst>
            <pc:docMk/>
            <pc:sldMk cId="108638664" sldId="2134808593"/>
            <ac:spMk id="36" creationId="{465485B1-A76F-AC04-3AD9-E34063C0B41C}"/>
          </ac:spMkLst>
        </pc:spChg>
        <pc:spChg chg="mod">
          <ac:chgData name="Knuepling, Matthias" userId="94f8fd53-976b-4af5-a5cb-36a34d046709" providerId="ADAL" clId="{4547E91D-042E-4829-9A50-46F7D965AE72}" dt="2023-10-20T08:58:51.786" v="34" actId="20577"/>
          <ac:spMkLst>
            <pc:docMk/>
            <pc:sldMk cId="108638664" sldId="2134808593"/>
            <ac:spMk id="42" creationId="{0B1B14FE-1E4F-A62C-5DD2-D80D19BA553D}"/>
          </ac:spMkLst>
        </pc:spChg>
      </pc:sldChg>
      <pc:sldChg chg="del">
        <pc:chgData name="Knuepling, Matthias" userId="94f8fd53-976b-4af5-a5cb-36a34d046709" providerId="ADAL" clId="{4547E91D-042E-4829-9A50-46F7D965AE72}" dt="2023-10-20T09:09:20.392" v="85" actId="47"/>
        <pc:sldMkLst>
          <pc:docMk/>
          <pc:sldMk cId="3113571788" sldId="2134808596"/>
        </pc:sldMkLst>
      </pc:sldChg>
      <pc:sldMasterChg chg="modSp mod">
        <pc:chgData name="Knuepling, Matthias" userId="94f8fd53-976b-4af5-a5cb-36a34d046709" providerId="ADAL" clId="{4547E91D-042E-4829-9A50-46F7D965AE72}" dt="2023-10-20T10:51:03.801" v="599" actId="20577"/>
        <pc:sldMasterMkLst>
          <pc:docMk/>
          <pc:sldMasterMk cId="2019754296" sldId="2147483678"/>
        </pc:sldMasterMkLst>
        <pc:spChg chg="mod replST">
          <ac:chgData name="Knuepling, Matthias" userId="94f8fd53-976b-4af5-a5cb-36a34d046709" providerId="ADAL" clId="{4547E91D-042E-4829-9A50-46F7D965AE72}" dt="2023-10-20T10:51:03.801" v="599" actId="20577"/>
          <ac:spMkLst>
            <pc:docMk/>
            <pc:sldMasterMk cId="2019754296" sldId="2147483678"/>
            <ac:spMk id="15" creationId="{24F6D775-D2B5-4FB0-9EA9-BA3B4C293989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3241B9-66A9-A44F-B42B-C05BCB4A623F}" type="datetimeFigureOut">
              <a:rPr lang="de-DE" smtClean="0"/>
              <a:t>20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78B747-F37C-B44D-BE43-23BF96F1F1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378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4393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201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201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201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7811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0093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064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78B747-F37C-B44D-BE43-23BF96F1F1D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697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de.linkedin.com/company/vtg-ag" TargetMode="External"/><Relationship Id="rId13" Type="http://schemas.openxmlformats.org/officeDocument/2006/relationships/image" Target="../media/image10.svg"/><Relationship Id="rId3" Type="http://schemas.openxmlformats.org/officeDocument/2006/relationships/image" Target="../media/image5.jpeg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hyperlink" Target="http://www.vtg.com/" TargetMode="External"/><Relationship Id="rId16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twitter.com/VTG_AG" TargetMode="External"/><Relationship Id="rId11" Type="http://schemas.openxmlformats.org/officeDocument/2006/relationships/image" Target="../media/image1.emf"/><Relationship Id="rId5" Type="http://schemas.openxmlformats.org/officeDocument/2006/relationships/hyperlink" Target="https://www.linkedin.com/company/vtg-ag/" TargetMode="External"/><Relationship Id="rId15" Type="http://schemas.openxmlformats.org/officeDocument/2006/relationships/image" Target="../media/image12.svg"/><Relationship Id="rId10" Type="http://schemas.openxmlformats.org/officeDocument/2006/relationships/image" Target="../media/image8.png"/><Relationship Id="rId4" Type="http://schemas.openxmlformats.org/officeDocument/2006/relationships/hyperlink" Target="https://www.youtube.com/channel/UCDlgZkSwF88UJw48uDeEJLQ/featured" TargetMode="External"/><Relationship Id="rId9" Type="http://schemas.openxmlformats.org/officeDocument/2006/relationships/image" Target="../media/image7.png"/><Relationship Id="rId1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401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7D84DCC-5B9A-5E45-BDBB-3EA1BBED3B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403" y="908720"/>
            <a:ext cx="7200801" cy="972468"/>
          </a:xfrm>
        </p:spPr>
        <p:txBody>
          <a:bodyPr vert="horz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/>
              <a:t>Title of presentation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12173A-348B-6240-BB6C-F19965177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334" t="28756" r="7096" b="38415"/>
          <a:stretch/>
        </p:blipFill>
        <p:spPr>
          <a:xfrm>
            <a:off x="8897730" y="324720"/>
            <a:ext cx="2655066" cy="1018633"/>
          </a:xfrm>
          <a:prstGeom prst="rect">
            <a:avLst/>
          </a:prstGeom>
        </p:spPr>
      </p:pic>
      <p:sp>
        <p:nvSpPr>
          <p:cNvPr id="5" name="Textplatzhalter 7">
            <a:extLst>
              <a:ext uri="{FF2B5EF4-FFF2-40B4-BE49-F238E27FC236}">
                <a16:creationId xmlns:a16="http://schemas.microsoft.com/office/drawing/2014/main" id="{8DD86FA6-1EA9-4245-8E64-36D12D857F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403" y="548680"/>
            <a:ext cx="7200801" cy="324000"/>
          </a:xfrm>
        </p:spPr>
        <p:txBody>
          <a:bodyPr lIns="0" rIns="0">
            <a:noAutofit/>
          </a:bodyPr>
          <a:lstStyle>
            <a:lvl1pPr marL="0" indent="0">
              <a:buFontTx/>
              <a:buNone/>
              <a:defRPr sz="1200" spc="110" baseline="0">
                <a:solidFill>
                  <a:srgbClr val="003579"/>
                </a:solidFill>
              </a:defRPr>
            </a:lvl1pPr>
          </a:lstStyle>
          <a:p>
            <a:pPr>
              <a:tabLst>
                <a:tab pos="2836863" algn="l"/>
              </a:tabLst>
            </a:pPr>
            <a:r>
              <a:rPr lang="en-US" sz="1200" spc="120" dirty="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/ Date / Information</a:t>
            </a:r>
          </a:p>
        </p:txBody>
      </p:sp>
      <p:sp>
        <p:nvSpPr>
          <p:cNvPr id="6" name="easyBackground_Title">
            <a:extLst>
              <a:ext uri="{FF2B5EF4-FFF2-40B4-BE49-F238E27FC236}">
                <a16:creationId xmlns:a16="http://schemas.microsoft.com/office/drawing/2014/main" id="{65527670-2433-E979-D43F-5999766CC9DB}"/>
              </a:ext>
            </a:extLst>
          </p:cNvPr>
          <p:cNvSpPr/>
          <p:nvPr userDrawn="1"/>
        </p:nvSpPr>
        <p:spPr>
          <a:xfrm>
            <a:off x="0" y="2574328"/>
            <a:ext cx="12192000" cy="4283672"/>
          </a:xfrm>
          <a:prstGeom prst="rect">
            <a:avLst/>
          </a:prstGeom>
          <a:solidFill>
            <a:srgbClr val="0079B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589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half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9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>
            <a:extLst>
              <a:ext uri="{FF2B5EF4-FFF2-40B4-BE49-F238E27FC236}">
                <a16:creationId xmlns:a16="http://schemas.microsoft.com/office/drawing/2014/main" id="{0B7F6715-751E-F348-82DD-B38B49C04D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728700"/>
            <a:ext cx="5004000" cy="540060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3579"/>
                </a:solidFill>
              </a:defRPr>
            </a:lvl1pPr>
          </a:lstStyle>
          <a:p>
            <a:r>
              <a:rPr lang="en-US"/>
              <a:t>Action Title</a:t>
            </a:r>
            <a:endParaRPr lang="en-US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FFFDAC7-C8E7-4B09-BA51-6D53F495FC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6040" y="360000"/>
            <a:ext cx="5004235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EC47B8F-088C-B145-91EF-C1264C970E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6040" y="1304764"/>
            <a:ext cx="5004000" cy="324036"/>
          </a:xfrm>
        </p:spPr>
        <p:txBody>
          <a:bodyPr wrap="square" t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rgbClr val="003579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698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Subtitle half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654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9E0483C7-4643-9649-87DA-F5340F0379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040" y="728700"/>
            <a:ext cx="5004000" cy="936000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3579"/>
                </a:solidFill>
              </a:defRPr>
            </a:lvl1pPr>
          </a:lstStyle>
          <a:p>
            <a:r>
              <a:rPr lang="en-US"/>
              <a:t>Action Title </a:t>
            </a:r>
            <a:br>
              <a:rPr lang="en-US"/>
            </a:br>
            <a:r>
              <a:rPr lang="en-US"/>
              <a:t>2 lines</a:t>
            </a:r>
            <a:endParaRPr lang="en-US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9314985E-E240-416B-9388-34F558B78F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6040" y="360000"/>
            <a:ext cx="5004235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21040F83-E41A-5A46-A2FC-7DCCCFD9AA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6040" y="1736812"/>
            <a:ext cx="5004000" cy="324036"/>
          </a:xfrm>
        </p:spPr>
        <p:txBody>
          <a:bodyPr wrap="square" t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rgbClr val="003579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858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Subtitle half left and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56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D3B81DD-A452-E54C-9096-79A86EAB4C6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3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 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11C486-C1FB-784E-96D6-423E5AFB2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403" y="728700"/>
            <a:ext cx="5004000" cy="936000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3579"/>
                </a:solidFill>
              </a:defRPr>
            </a:lvl1pPr>
          </a:lstStyle>
          <a:p>
            <a:r>
              <a:rPr lang="en-US"/>
              <a:t>Action Title</a:t>
            </a:r>
            <a:br>
              <a:rPr lang="en-US"/>
            </a:br>
            <a:r>
              <a:rPr lang="en-US"/>
              <a:t>2 lines</a:t>
            </a:r>
            <a:endParaRPr lang="en-US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91BF3BE8-3A37-4BD2-9EFB-83FE99173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403" y="360000"/>
            <a:ext cx="5004235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CFEA04C4-04FF-9344-B672-9638C50ACA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403" y="1736812"/>
            <a:ext cx="5004000" cy="324036"/>
          </a:xfrm>
        </p:spPr>
        <p:txBody>
          <a:bodyPr vert="horz" wrap="square" lIns="0" tIns="0" rIns="0" bIns="45720" rtlCol="0">
            <a:noAutofit/>
          </a:bodyPr>
          <a:lstStyle>
            <a:lvl1pPr>
              <a:defRPr lang="de-DE" sz="1800" dirty="0">
                <a:solidFill>
                  <a:srgbClr val="003579"/>
                </a:solidFill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3663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D3B81DD-A452-E54C-9096-79A86EAB4C6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680" y="0"/>
            <a:ext cx="12192000" cy="633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33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C11C486-C1FB-784E-96D6-423E5AFB2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838" y="0"/>
            <a:ext cx="5003800" cy="6327748"/>
          </a:xfrm>
          <a:solidFill>
            <a:schemeClr val="bg1">
              <a:alpha val="89000"/>
            </a:schemeClr>
          </a:solidFill>
        </p:spPr>
        <p:txBody>
          <a:bodyPr vert="horz" lIns="540000" tIns="1620000" bIns="0">
            <a:noAutofit/>
          </a:bodyPr>
          <a:lstStyle>
            <a:lvl1pPr>
              <a:defRPr baseline="0">
                <a:solidFill>
                  <a:srgbClr val="003579"/>
                </a:solidFill>
              </a:defRPr>
            </a:lvl1pPr>
          </a:lstStyle>
          <a:p>
            <a:r>
              <a:rPr lang="en-US"/>
              <a:t>Break Slide Titl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9AD0A42-D5AE-DC43-8BEE-7F42E3F3FD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3903" y="4869160"/>
            <a:ext cx="1548000" cy="1080120"/>
          </a:xfrm>
        </p:spPr>
        <p:txBody>
          <a:bodyPr wrap="none">
            <a:noAutofit/>
          </a:bodyPr>
          <a:lstStyle>
            <a:lvl1pPr marL="0" indent="0" algn="r">
              <a:buNone/>
              <a:defRPr sz="60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890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37140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5D17583-5A19-42C3-B6CA-5CB3A98EC8C8}"/>
              </a:ext>
            </a:extLst>
          </p:cNvPr>
          <p:cNvSpPr/>
          <p:nvPr userDrawn="1"/>
        </p:nvSpPr>
        <p:spPr>
          <a:xfrm>
            <a:off x="0" y="0"/>
            <a:ext cx="12192000" cy="633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005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5D17583-5A19-42C3-B6CA-5CB3A98EC8C8}"/>
              </a:ext>
            </a:extLst>
          </p:cNvPr>
          <p:cNvSpPr/>
          <p:nvPr userDrawn="1"/>
        </p:nvSpPr>
        <p:spPr>
          <a:xfrm>
            <a:off x="0" y="0"/>
            <a:ext cx="12192000" cy="63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627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VTG" descr="Ein Bild, das Text, Himmel, draußen, bewölkt enthält.&#10;&#10;Automatisch generierte Beschreibung">
            <a:hlinkClick r:id="rId2"/>
            <a:extLst>
              <a:ext uri="{FF2B5EF4-FFF2-40B4-BE49-F238E27FC236}">
                <a16:creationId xmlns:a16="http://schemas.microsoft.com/office/drawing/2014/main" id="{23BAA820-5435-47A5-93DA-3C1C715BFF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2950" y="0"/>
            <a:ext cx="2514600" cy="3199512"/>
          </a:xfrm>
          <a:prstGeom prst="rect">
            <a:avLst/>
          </a:prstGeom>
        </p:spPr>
      </p:pic>
      <p:sp>
        <p:nvSpPr>
          <p:cNvPr id="6" name="Rectangle 8">
            <a:hlinkClick r:id="rId4"/>
            <a:extLst>
              <a:ext uri="{FF2B5EF4-FFF2-40B4-BE49-F238E27FC236}">
                <a16:creationId xmlns:a16="http://schemas.microsoft.com/office/drawing/2014/main" id="{96B817C8-CD9D-4A15-B8F2-A27F11C8EA6E}"/>
              </a:ext>
            </a:extLst>
          </p:cNvPr>
          <p:cNvSpPr/>
          <p:nvPr userDrawn="1"/>
        </p:nvSpPr>
        <p:spPr>
          <a:xfrm>
            <a:off x="3359150" y="3286433"/>
            <a:ext cx="2514600" cy="2402276"/>
          </a:xfrm>
          <a:prstGeom prst="rect">
            <a:avLst/>
          </a:prstGeom>
          <a:solidFill>
            <a:schemeClr val="accent3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3579"/>
              </a:solidFill>
            </a:endParaRPr>
          </a:p>
        </p:txBody>
      </p:sp>
      <p:sp>
        <p:nvSpPr>
          <p:cNvPr id="7" name="Rectangle 9">
            <a:hlinkClick r:id="rId5"/>
            <a:extLst>
              <a:ext uri="{FF2B5EF4-FFF2-40B4-BE49-F238E27FC236}">
                <a16:creationId xmlns:a16="http://schemas.microsoft.com/office/drawing/2014/main" id="{09A8B793-1363-4206-9E63-40FAD8452612}"/>
              </a:ext>
            </a:extLst>
          </p:cNvPr>
          <p:cNvSpPr/>
          <p:nvPr userDrawn="1"/>
        </p:nvSpPr>
        <p:spPr>
          <a:xfrm>
            <a:off x="742950" y="3286433"/>
            <a:ext cx="2514600" cy="24022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79BC"/>
              </a:solidFill>
            </a:endParaRPr>
          </a:p>
        </p:txBody>
      </p:sp>
      <p:sp>
        <p:nvSpPr>
          <p:cNvPr id="8" name="Rectangle 21">
            <a:hlinkClick r:id="rId6"/>
            <a:extLst>
              <a:ext uri="{FF2B5EF4-FFF2-40B4-BE49-F238E27FC236}">
                <a16:creationId xmlns:a16="http://schemas.microsoft.com/office/drawing/2014/main" id="{B5A30858-784F-4D8A-B735-D8E8EC5B8053}"/>
              </a:ext>
            </a:extLst>
          </p:cNvPr>
          <p:cNvSpPr/>
          <p:nvPr userDrawn="1"/>
        </p:nvSpPr>
        <p:spPr>
          <a:xfrm>
            <a:off x="3359150" y="797236"/>
            <a:ext cx="2514600" cy="24022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Grafik 13">
            <a:hlinkClick r:id="rId6"/>
            <a:extLst>
              <a:ext uri="{FF2B5EF4-FFF2-40B4-BE49-F238E27FC236}">
                <a16:creationId xmlns:a16="http://schemas.microsoft.com/office/drawing/2014/main" id="{33F10331-5E93-4A24-A4B7-2C3AF70E4A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7154" y="1801429"/>
            <a:ext cx="478592" cy="393890"/>
          </a:xfrm>
          <a:prstGeom prst="rect">
            <a:avLst/>
          </a:prstGeom>
        </p:spPr>
      </p:pic>
      <p:pic>
        <p:nvPicPr>
          <p:cNvPr id="15" name="Grafik 14">
            <a:hlinkClick r:id="rId8"/>
            <a:extLst>
              <a:ext uri="{FF2B5EF4-FFF2-40B4-BE49-F238E27FC236}">
                <a16:creationId xmlns:a16="http://schemas.microsoft.com/office/drawing/2014/main" id="{50204083-223D-4AFB-B5AD-9E60ED572CD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9516" y="4266836"/>
            <a:ext cx="441469" cy="441469"/>
          </a:xfrm>
          <a:prstGeom prst="rect">
            <a:avLst/>
          </a:prstGeom>
        </p:spPr>
      </p:pic>
      <p:pic>
        <p:nvPicPr>
          <p:cNvPr id="16" name="Grafik 15">
            <a:hlinkClick r:id="rId4"/>
            <a:extLst>
              <a:ext uri="{FF2B5EF4-FFF2-40B4-BE49-F238E27FC236}">
                <a16:creationId xmlns:a16="http://schemas.microsoft.com/office/drawing/2014/main" id="{D5D355B7-50D0-4C9B-8329-F70A66B25F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5843" y="4287559"/>
            <a:ext cx="601214" cy="400024"/>
          </a:xfrm>
          <a:prstGeom prst="rect">
            <a:avLst/>
          </a:prstGeom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C0CEC42D-6604-4069-A18F-E04CAECD820A}"/>
              </a:ext>
            </a:extLst>
          </p:cNvPr>
          <p:cNvSpPr/>
          <p:nvPr userDrawn="1"/>
        </p:nvSpPr>
        <p:spPr>
          <a:xfrm>
            <a:off x="-1" y="6330948"/>
            <a:ext cx="12192001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3C70E9F4-295B-47A4-A695-E9C75264529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373" y="6506714"/>
            <a:ext cx="794766" cy="188468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01E6FEC4-7870-4A89-9EEA-67AE58356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4000" y="720000"/>
            <a:ext cx="4356000" cy="54006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C89CC5-A295-4FF0-94AB-922C68ABD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56040" y="1304764"/>
            <a:ext cx="3060340" cy="288032"/>
          </a:xfrm>
        </p:spPr>
        <p:txBody>
          <a:bodyPr wrap="none" tIns="0" bIns="0">
            <a:noAutofit/>
          </a:bodyPr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en-US"/>
              <a:t>Company</a:t>
            </a:r>
            <a:endParaRPr lang="en-US" dirty="0"/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DC495409-BAC2-4C2D-A3BD-E2A6B7F30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56040" y="1628800"/>
            <a:ext cx="3060340" cy="288032"/>
          </a:xfrm>
        </p:spPr>
        <p:txBody>
          <a:bodyPr wrap="none" tIns="0" bIns="0">
            <a:noAutofit/>
          </a:bodyPr>
          <a:lstStyle>
            <a:lvl1pPr marL="0" indent="0">
              <a:buFontTx/>
              <a:buNone/>
              <a:defRPr sz="1600" b="0"/>
            </a:lvl1pPr>
          </a:lstStyle>
          <a:p>
            <a:pPr lvl="0"/>
            <a:r>
              <a:rPr lang="en-US"/>
              <a:t>Street</a:t>
            </a:r>
            <a:endParaRPr lang="en-US" dirty="0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83382418-45B5-4E99-94AB-19045C9D29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56040" y="1916832"/>
            <a:ext cx="3060340" cy="288032"/>
          </a:xfrm>
        </p:spPr>
        <p:txBody>
          <a:bodyPr wrap="none" tIns="0" bIns="0">
            <a:noAutofit/>
          </a:bodyPr>
          <a:lstStyle>
            <a:lvl1pPr marL="0" indent="0">
              <a:buFontTx/>
              <a:buNone/>
              <a:defRPr sz="1600" b="0"/>
            </a:lvl1pPr>
          </a:lstStyle>
          <a:p>
            <a:pPr lvl="0"/>
            <a:r>
              <a:rPr lang="en-US"/>
              <a:t>Street</a:t>
            </a:r>
            <a:endParaRPr lang="en-US" dirty="0"/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560EE5E-3D71-4E20-B04B-8D3B440C57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2084" y="2325845"/>
            <a:ext cx="2664296" cy="288032"/>
          </a:xfrm>
        </p:spPr>
        <p:txBody>
          <a:bodyPr wrap="none" tIns="0" bIns="0">
            <a:noAutofit/>
          </a:bodyPr>
          <a:lstStyle>
            <a:lvl1pPr marL="0" indent="0">
              <a:buFontTx/>
              <a:buNone/>
              <a:defRPr sz="1600" b="0"/>
            </a:lvl1pPr>
          </a:lstStyle>
          <a:p>
            <a:pPr lvl="0"/>
            <a:r>
              <a:rPr lang="en-US"/>
              <a:t>Phone</a:t>
            </a:r>
            <a:endParaRPr lang="en-US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DFF31FD0-3671-4C4E-97EC-8C5A71774E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2084" y="2613877"/>
            <a:ext cx="2664296" cy="288032"/>
          </a:xfrm>
        </p:spPr>
        <p:txBody>
          <a:bodyPr wrap="none" tIns="0" bIns="0">
            <a:noAutofit/>
          </a:bodyPr>
          <a:lstStyle>
            <a:lvl1pPr marL="0" indent="0">
              <a:buFontTx/>
              <a:buNone/>
              <a:defRPr sz="1600" b="0"/>
            </a:lvl1pPr>
          </a:lstStyle>
          <a:p>
            <a:pPr lvl="0"/>
            <a:r>
              <a:rPr lang="en-US"/>
              <a:t>E-Mail</a:t>
            </a:r>
            <a:endParaRPr lang="en-US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8F3802E6-BB2D-4575-99FD-1883DB5AC4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2084" y="2901909"/>
            <a:ext cx="2664296" cy="288032"/>
          </a:xfrm>
        </p:spPr>
        <p:txBody>
          <a:bodyPr wrap="none" tIns="0" bIns="0">
            <a:noAutofit/>
          </a:bodyPr>
          <a:lstStyle>
            <a:lvl1pPr marL="0" indent="0">
              <a:buFontTx/>
              <a:buNone/>
              <a:defRPr sz="1600" b="0"/>
            </a:lvl1pPr>
          </a:lstStyle>
          <a:p>
            <a:pPr lvl="0"/>
            <a:r>
              <a:rPr lang="en-US"/>
              <a:t>Domain</a:t>
            </a:r>
            <a:endParaRPr lang="en-US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BE9BE58-EC69-407E-9C95-92C3A8BFE8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57015" y="2334861"/>
            <a:ext cx="270000" cy="270000"/>
          </a:xfr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42" name="Bildplatzhalter 16">
            <a:extLst>
              <a:ext uri="{FF2B5EF4-FFF2-40B4-BE49-F238E27FC236}">
                <a16:creationId xmlns:a16="http://schemas.microsoft.com/office/drawing/2014/main" id="{7AE1FCC7-238E-4063-92D5-723435A7466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57015" y="2622893"/>
            <a:ext cx="270000" cy="270000"/>
          </a:xfr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 </a:t>
            </a:r>
            <a:endParaRPr lang="en-US" dirty="0"/>
          </a:p>
        </p:txBody>
      </p:sp>
      <p:sp>
        <p:nvSpPr>
          <p:cNvPr id="43" name="Bildplatzhalter 16">
            <a:extLst>
              <a:ext uri="{FF2B5EF4-FFF2-40B4-BE49-F238E27FC236}">
                <a16:creationId xmlns:a16="http://schemas.microsoft.com/office/drawing/2014/main" id="{1FB167A2-73D6-4993-A20E-FA60562F49D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457015" y="2910925"/>
            <a:ext cx="270000" cy="270000"/>
          </a:xfr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6982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9">
            <a:extLst>
              <a:ext uri="{FF2B5EF4-FFF2-40B4-BE49-F238E27FC236}">
                <a16:creationId xmlns:a16="http://schemas.microsoft.com/office/drawing/2014/main" id="{CFEA04C4-04FF-9344-B672-9638C50ACA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0000" y="1206001"/>
            <a:ext cx="4502876" cy="4632037"/>
          </a:xfrm>
        </p:spPr>
        <p:txBody>
          <a:bodyPr wrap="square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3579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spc="50">
                <a:solidFill>
                  <a:srgbClr val="0035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  <a:endParaRPr lang="en-US" sz="2200" spc="50" dirty="0">
              <a:solidFill>
                <a:srgbClr val="00357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4A8FF59-0C3F-7B4D-8451-24141FE40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3646318"/>
            <a:ext cx="4500000" cy="2340000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8000" b="1">
                <a:solidFill>
                  <a:srgbClr val="00357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able of Content</a:t>
            </a:r>
            <a:endParaRPr lang="en-US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AB20789-7B30-7742-AB30-88EE598796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50719" y="1206001"/>
            <a:ext cx="515841" cy="4632037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rgbClr val="0079BC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1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  <a:p>
            <a:pPr lvl="0"/>
            <a:r>
              <a:rPr lang="en-US"/>
              <a:t>06</a:t>
            </a:r>
          </a:p>
          <a:p>
            <a:pPr lvl="0"/>
            <a:r>
              <a:rPr lang="en-US"/>
              <a:t>07</a:t>
            </a:r>
          </a:p>
          <a:p>
            <a:pPr lvl="0"/>
            <a:r>
              <a:rPr lang="en-US"/>
              <a:t>08</a:t>
            </a:r>
          </a:p>
          <a:p>
            <a:pPr lvl="0"/>
            <a:r>
              <a:rPr lang="en-US"/>
              <a:t>09</a:t>
            </a:r>
          </a:p>
          <a:p>
            <a:pPr lvl="0"/>
            <a:r>
              <a:rPr lang="en-US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2643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1C46E155-7C34-4706-9D91-E71D98D386D2}"/>
              </a:ext>
            </a:extLst>
          </p:cNvPr>
          <p:cNvSpPr/>
          <p:nvPr userDrawn="1"/>
        </p:nvSpPr>
        <p:spPr>
          <a:xfrm>
            <a:off x="0" y="0"/>
            <a:ext cx="12192000" cy="633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4A8FF59-0C3F-7B4D-8451-24141FE40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20000" y="3431773"/>
            <a:ext cx="4500000" cy="2554545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80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able of Content</a:t>
            </a:r>
            <a:endParaRPr lang="en-US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AB20789-7B30-7742-AB30-88EE598796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50719" y="1206001"/>
            <a:ext cx="515841" cy="4632037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bg1">
                    <a:alpha val="8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1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  <a:p>
            <a:pPr lvl="0"/>
            <a:r>
              <a:rPr lang="en-US"/>
              <a:t>06</a:t>
            </a:r>
          </a:p>
          <a:p>
            <a:pPr lvl="0"/>
            <a:r>
              <a:rPr lang="en-US"/>
              <a:t>07</a:t>
            </a:r>
          </a:p>
          <a:p>
            <a:pPr lvl="0"/>
            <a:r>
              <a:rPr lang="en-US"/>
              <a:t>08</a:t>
            </a:r>
          </a:p>
          <a:p>
            <a:pPr lvl="0"/>
            <a:r>
              <a:rPr lang="en-US"/>
              <a:t>09</a:t>
            </a:r>
          </a:p>
          <a:p>
            <a:pPr lvl="0"/>
            <a:r>
              <a:rPr lang="en-US"/>
              <a:t>10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C6A6B7-FE58-9341-B711-D27E7970AC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840000" y="1206001"/>
            <a:ext cx="4503600" cy="4632037"/>
          </a:xfrm>
        </p:spPr>
        <p:txBody>
          <a:bodyPr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</a:p>
          <a:p>
            <a:pPr algn="l">
              <a:lnSpc>
                <a:spcPct val="100000"/>
              </a:lnSpc>
            </a:pPr>
            <a:r>
              <a:rPr lang="en-US" sz="2200" spc="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73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966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87FD21C-7881-E842-952C-52D2B255A3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403" y="728700"/>
            <a:ext cx="10728760" cy="540060"/>
          </a:xfrm>
        </p:spPr>
        <p:txBody>
          <a:bodyPr vert="horz"/>
          <a:lstStyle/>
          <a:p>
            <a:r>
              <a:rPr lang="en-US"/>
              <a:t>Action Title</a:t>
            </a:r>
            <a:endParaRPr lang="en-US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C6A55CB-B31D-4B15-A45A-59E424283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403" y="360000"/>
            <a:ext cx="7199313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17B5811E-97C0-7149-9F0E-0FD76CCB52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403" y="1304764"/>
            <a:ext cx="10728760" cy="324036"/>
          </a:xfrm>
        </p:spPr>
        <p:txBody>
          <a:bodyPr t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rgbClr val="003579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04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153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0F0EB00C-C416-49CC-B9F2-EC13F22A77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  <a:endParaRPr lang="en-US" dirty="0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C9616BEE-48FB-40D9-A23B-D1DD1B2F4B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403" y="360000"/>
            <a:ext cx="7199313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043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22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6" name="Objek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2B54B3D-D25F-4B68-8B42-021691CC9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3080745-46BF-47BB-944D-916BE7820A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1403" y="360000"/>
            <a:ext cx="7199313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206D10A2-46AF-894C-889C-447E6ED6A1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403" y="1304764"/>
            <a:ext cx="10728760" cy="324036"/>
          </a:xfrm>
        </p:spPr>
        <p:txBody>
          <a:bodyPr t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rgbClr val="003579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B465AE-1042-415A-B5C7-E398B4895A1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31403" y="1880828"/>
            <a:ext cx="10728000" cy="4176464"/>
          </a:xfrm>
        </p:spPr>
        <p:txBody>
          <a:bodyPr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</a:t>
            </a:r>
            <a:r>
              <a:rPr lang="en-US" dirty="0"/>
              <a:t>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</p:spTree>
    <p:extLst>
      <p:ext uri="{BB962C8B-B14F-4D97-AF65-F5344CB8AC3E}">
        <p14:creationId xmlns:p14="http://schemas.microsoft.com/office/powerpoint/2010/main" val="305051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29EDB977-F911-47C3-BC5D-74CC7A00F075}"/>
              </a:ext>
            </a:extLst>
          </p:cNvPr>
          <p:cNvSpPr/>
          <p:nvPr userDrawn="1"/>
        </p:nvSpPr>
        <p:spPr>
          <a:xfrm>
            <a:off x="0" y="0"/>
            <a:ext cx="12192000" cy="633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97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>
            <a:extLst>
              <a:ext uri="{FF2B5EF4-FFF2-40B4-BE49-F238E27FC236}">
                <a16:creationId xmlns:a16="http://schemas.microsoft.com/office/drawing/2014/main" id="{EF10090C-8350-5644-9690-5565166C5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403" y="728700"/>
            <a:ext cx="10728760" cy="540060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ction Title</a:t>
            </a:r>
            <a:endParaRPr lang="en-US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E459E1B-E0DF-438A-8545-76E64E723F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1403" y="360000"/>
            <a:ext cx="7199313" cy="270000"/>
          </a:xfrm>
        </p:spPr>
        <p:txBody>
          <a:bodyPr lIns="0" tIns="0" r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DE7EE84-3E68-424F-B660-B2ABBCBE45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403" y="1304764"/>
            <a:ext cx="10728760" cy="32403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610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half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057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>
            <a:extLst>
              <a:ext uri="{FF2B5EF4-FFF2-40B4-BE49-F238E27FC236}">
                <a16:creationId xmlns:a16="http://schemas.microsoft.com/office/drawing/2014/main" id="{3CD84349-8410-FE4B-8273-5852E08ED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403" y="728700"/>
            <a:ext cx="5004235" cy="54006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ction Title</a:t>
            </a:r>
            <a:endParaRPr lang="en-US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8482A842-1586-461D-B7AB-46F952042B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403" y="360000"/>
            <a:ext cx="5004235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0AFDBC8-99B5-F043-A5DD-B000B1A98C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403" y="1304764"/>
            <a:ext cx="5004235" cy="324036"/>
          </a:xfrm>
        </p:spPr>
        <p:txBody>
          <a:bodyPr wrap="square" t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rgbClr val="003579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324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Subtitle half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15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3" imgH="394" progId="TCLayout.ActiveDocument.1">
                  <p:embed/>
                </p:oleObj>
              </mc:Choice>
              <mc:Fallback>
                <p:oleObj name="think-cell Folie" r:id="rId3" imgW="393" imgH="39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>
            <a:extLst>
              <a:ext uri="{FF2B5EF4-FFF2-40B4-BE49-F238E27FC236}">
                <a16:creationId xmlns:a16="http://schemas.microsoft.com/office/drawing/2014/main" id="{D53F8AE4-C95C-C449-B655-ABD5D5EA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403" y="728700"/>
            <a:ext cx="5004000" cy="936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ction Title</a:t>
            </a:r>
            <a:br>
              <a:rPr lang="en-US"/>
            </a:br>
            <a:r>
              <a:rPr lang="en-US"/>
              <a:t>2 lines</a:t>
            </a:r>
            <a:endParaRPr lang="en-US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FD00228E-F471-4EB0-ABA8-AC727B6EC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403" y="360000"/>
            <a:ext cx="5004235" cy="270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avigator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B58DC0-E024-6546-8D83-5B107B9C42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403" y="1736812"/>
            <a:ext cx="5004000" cy="324036"/>
          </a:xfrm>
        </p:spPr>
        <p:txBody>
          <a:bodyPr wrap="square" t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>
                <a:solidFill>
                  <a:srgbClr val="003579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860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>
            <a:extLst>
              <a:ext uri="{FF2B5EF4-FFF2-40B4-BE49-F238E27FC236}">
                <a16:creationId xmlns:a16="http://schemas.microsoft.com/office/drawing/2014/main" id="{24754F7F-F9ED-4164-A0F4-1043F99EE113}"/>
              </a:ext>
            </a:extLst>
          </p:cNvPr>
          <p:cNvSpPr/>
          <p:nvPr userDrawn="1"/>
        </p:nvSpPr>
        <p:spPr>
          <a:xfrm>
            <a:off x="-1" y="6330948"/>
            <a:ext cx="12192001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915CF79-ADF1-4A1B-8D48-6106D7AB545C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373" y="6506714"/>
            <a:ext cx="794766" cy="188468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58796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93" imgH="394" progId="TCLayout.ActiveDocument.1">
                  <p:embed/>
                </p:oleObj>
              </mc:Choice>
              <mc:Fallback>
                <p:oleObj name="think-cell Folie" r:id="rId22" imgW="393" imgH="394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365B873-6EEA-4B42-8C07-7FC1042A1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403" y="728700"/>
            <a:ext cx="10728000" cy="540060"/>
          </a:xfrm>
          <a:prstGeom prst="rect">
            <a:avLst/>
          </a:prstGeom>
        </p:spPr>
        <p:txBody>
          <a:bodyPr vert="horz" lIns="0" tIns="0" rIns="0" bIns="45720" rtlCol="0" anchor="t" anchorCtr="0">
            <a:noAutofit/>
          </a:bodyPr>
          <a:lstStyle/>
          <a:p>
            <a:r>
              <a:rPr lang="en-US"/>
              <a:t>Action 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392BDE-3D3D-1944-8C2C-772EE4D23C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403" y="1880828"/>
            <a:ext cx="10728000" cy="41764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opy text</a:t>
            </a:r>
          </a:p>
          <a:p>
            <a:pPr lvl="1"/>
            <a:r>
              <a:rPr lang="en-US"/>
              <a:t>Copy </a:t>
            </a:r>
            <a:r>
              <a:rPr lang="en-US" dirty="0"/>
              <a:t>text</a:t>
            </a:r>
          </a:p>
          <a:p>
            <a:pPr lvl="2"/>
            <a:r>
              <a:rPr lang="en-US" dirty="0"/>
              <a:t>Copy text</a:t>
            </a:r>
          </a:p>
          <a:p>
            <a:pPr lvl="3"/>
            <a:r>
              <a:rPr lang="en-US" dirty="0"/>
              <a:t>Copy text</a:t>
            </a:r>
          </a:p>
          <a:p>
            <a:pPr lvl="4"/>
            <a:r>
              <a:rPr lang="en-US" dirty="0"/>
              <a:t>Copy text</a:t>
            </a:r>
          </a:p>
        </p:txBody>
      </p:sp>
      <p:sp>
        <p:nvSpPr>
          <p:cNvPr id="7" name="Rechteck 6" hidden="1"/>
          <p:cNvSpPr/>
          <p:nvPr userDrawn="1"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/>
            <a:endParaRPr kumimoji="0" lang="en-US" sz="3200" b="1" i="0" u="none" cap="none" baseline="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5" name="Footer">
            <a:extLst>
              <a:ext uri="{FF2B5EF4-FFF2-40B4-BE49-F238E27FC236}">
                <a16:creationId xmlns:a16="http://schemas.microsoft.com/office/drawing/2014/main" id="{24F6D775-D2B5-4FB0-9EA9-BA3B4C293989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gray">
          <a:xfrm>
            <a:off x="1795484" y="6418695"/>
            <a:ext cx="4300516" cy="360000"/>
          </a:xfrm>
          <a:prstGeom prst="rect">
            <a:avLst/>
          </a:prstGeom>
        </p:spPr>
        <p:txBody>
          <a:bodyPr vert="horz" wrap="none" lIns="0" tIns="54000" rIns="0" bIns="46800" rtlCol="0" anchor="ctr"/>
          <a:lstStyle/>
          <a:p>
            <a:pPr lvl="0"/>
            <a:r>
              <a:rPr lang="en-US" sz="9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10.2023     |     3rd ERA Multimodal Conference, Hamburg</a:t>
            </a:r>
            <a:endParaRPr lang="de-DE" sz="900" b="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ageNumber">
            <a:extLst>
              <a:ext uri="{FF2B5EF4-FFF2-40B4-BE49-F238E27FC236}">
                <a16:creationId xmlns:a16="http://schemas.microsoft.com/office/drawing/2014/main" id="{5D7841B7-39E2-4241-A99A-76015533FE2C}"/>
              </a:ext>
            </a:extLst>
          </p:cNvPr>
          <p:cNvSpPr/>
          <p:nvPr userDrawn="1"/>
        </p:nvSpPr>
        <p:spPr bwMode="gray">
          <a:xfrm>
            <a:off x="10848528" y="6418697"/>
            <a:ext cx="622431" cy="360000"/>
          </a:xfrm>
          <a:prstGeom prst="rect">
            <a:avLst/>
          </a:prstGeom>
        </p:spPr>
        <p:txBody>
          <a:bodyPr vert="horz" lIns="0" tIns="54000" rIns="0" bIns="46800" rtlCol="0" anchor="ctr"/>
          <a:lstStyle/>
          <a:p>
            <a:pPr lvl="0" algn="r"/>
            <a:fld id="{61CFAC51-51B5-48B5-9362-8A8EF1341465}" type="slidenum">
              <a:rPr lang="en-US" sz="900" b="1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Nr.›</a:t>
            </a:fld>
            <a:endPara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318834F-1CA9-46C1-B991-40BBDAF62515}"/>
              </a:ext>
            </a:extLst>
          </p:cNvPr>
          <p:cNvSpPr/>
          <p:nvPr userDrawn="1"/>
        </p:nvSpPr>
        <p:spPr bwMode="gray">
          <a:xfrm>
            <a:off x="11584432" y="6330948"/>
            <a:ext cx="45719" cy="10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754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753" r:id="rId3"/>
    <p:sldLayoutId id="2147483742" r:id="rId4"/>
    <p:sldLayoutId id="2147483741" r:id="rId5"/>
    <p:sldLayoutId id="2147483682" r:id="rId6"/>
    <p:sldLayoutId id="2147483760" r:id="rId7"/>
    <p:sldLayoutId id="2147483746" r:id="rId8"/>
    <p:sldLayoutId id="2147483748" r:id="rId9"/>
    <p:sldLayoutId id="2147483747" r:id="rId10"/>
    <p:sldLayoutId id="2147483745" r:id="rId11"/>
    <p:sldLayoutId id="2147483703" r:id="rId12"/>
    <p:sldLayoutId id="2147483781" r:id="rId13"/>
    <p:sldLayoutId id="2147483740" r:id="rId14"/>
    <p:sldLayoutId id="2147483777" r:id="rId15"/>
    <p:sldLayoutId id="2147483780" r:id="rId16"/>
    <p:sldLayoutId id="2147483779" r:id="rId17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b="1" i="0" kern="1200" spc="0">
          <a:solidFill>
            <a:srgbClr val="00357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Symbol" pitchFamily="2" charset="2"/>
        <a:buChar char="-"/>
        <a:tabLst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8163" indent="-180000" algn="l" defTabSz="914400" rtl="0" eaLnBrk="1" latinLnBrk="0" hangingPunct="1">
        <a:lnSpc>
          <a:spcPct val="100000"/>
        </a:lnSpc>
        <a:spcBef>
          <a:spcPts val="600"/>
        </a:spcBef>
        <a:buFont typeface="Symbol" pitchFamily="2" charset="2"/>
        <a:buChar char="-"/>
        <a:tabLst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2788" indent="-173038" algn="l" defTabSz="914400" rtl="0" eaLnBrk="1" latinLnBrk="0" hangingPunct="1">
        <a:lnSpc>
          <a:spcPct val="125000"/>
        </a:lnSpc>
        <a:spcBef>
          <a:spcPts val="500"/>
        </a:spcBef>
        <a:buFont typeface="Symbol" panose="05050102010706020507" pitchFamily="18" charset="2"/>
        <a:buChar char="-"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5350" indent="-182563" algn="l" defTabSz="914400" rtl="0" eaLnBrk="1" latinLnBrk="0" hangingPunct="1">
        <a:lnSpc>
          <a:spcPct val="125000"/>
        </a:lnSpc>
        <a:spcBef>
          <a:spcPts val="500"/>
        </a:spcBef>
        <a:buFont typeface="Symbol" panose="05050102010706020507" pitchFamily="18" charset="2"/>
        <a:buChar char="-"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4067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461" userDrawn="1">
          <p15:clr>
            <a:srgbClr val="F26B43"/>
          </p15:clr>
        </p15:guide>
        <p15:guide id="5" orient="horz" pos="2500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  <p15:guide id="7" pos="3613" userDrawn="1">
          <p15:clr>
            <a:srgbClr val="F26B43"/>
          </p15:clr>
        </p15:guide>
        <p15:guide id="10" orient="horz" pos="459" userDrawn="1">
          <p15:clr>
            <a:srgbClr val="F26B43"/>
          </p15:clr>
        </p15:guide>
        <p15:guide id="11" orient="horz" pos="1185" userDrawn="1">
          <p15:clr>
            <a:srgbClr val="F26B43"/>
          </p15:clr>
        </p15:guide>
        <p15:guide id="12" orient="horz" pos="3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4" Type="http://schemas.openxmlformats.org/officeDocument/2006/relationships/image" Target="../media/image3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08A913-FC7B-48E8-B467-49A8B2CBF2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403" y="908720"/>
            <a:ext cx="7560841" cy="972468"/>
          </a:xfrm>
        </p:spPr>
        <p:txBody>
          <a:bodyPr/>
          <a:lstStyle/>
          <a:p>
            <a:r>
              <a:rPr lang="en-US" dirty="0"/>
              <a:t>Solutions for the Modal Shift to Rai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065605-66F5-4F02-ABCF-4CAEE1184E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ERA Multimodal Conference 26.10.2023, Hambur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57009E5-6E69-3136-0463-933E7BF5BD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092" b="4081"/>
          <a:stretch/>
        </p:blipFill>
        <p:spPr>
          <a:xfrm>
            <a:off x="1944" y="2564904"/>
            <a:ext cx="12190056" cy="42930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58524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98B62-04C9-4ED6-9ACB-9AD73BD54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VTG supports the Decarbonizing of the</a:t>
            </a:r>
            <a:br>
              <a:rPr lang="en-US" dirty="0"/>
            </a:br>
            <a:r>
              <a:rPr lang="en-US" dirty="0"/>
              <a:t>Multimodal Logistics Chain</a:t>
            </a:r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94B6FA47-3340-F442-64B5-6D8D5ED9F642}"/>
              </a:ext>
            </a:extLst>
          </p:cNvPr>
          <p:cNvGrpSpPr/>
          <p:nvPr/>
        </p:nvGrpSpPr>
        <p:grpSpPr>
          <a:xfrm>
            <a:off x="4897201" y="1748299"/>
            <a:ext cx="6562962" cy="4398160"/>
            <a:chOff x="4897201" y="1748299"/>
            <a:chExt cx="6562962" cy="4398160"/>
          </a:xfrm>
        </p:grpSpPr>
        <p:sp>
          <p:nvSpPr>
            <p:cNvPr id="69" name="Rechteck: abgerundete Ecken 68">
              <a:extLst>
                <a:ext uri="{FF2B5EF4-FFF2-40B4-BE49-F238E27FC236}">
                  <a16:creationId xmlns:a16="http://schemas.microsoft.com/office/drawing/2014/main" id="{7C19AD19-A5A1-FD59-DEBD-D493B7D5EA18}"/>
                </a:ext>
              </a:extLst>
            </p:cNvPr>
            <p:cNvSpPr/>
            <p:nvPr/>
          </p:nvSpPr>
          <p:spPr>
            <a:xfrm>
              <a:off x="4897201" y="1748299"/>
              <a:ext cx="6562962" cy="4398160"/>
            </a:xfrm>
            <a:prstGeom prst="roundRect">
              <a:avLst>
                <a:gd name="adj" fmla="val 5604"/>
              </a:avLst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GB" sz="1200" b="1" dirty="0" err="1">
                <a:solidFill>
                  <a:srgbClr val="FFFFFF"/>
                </a:solidFill>
              </a:endParaRPr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F1B1B02-1B24-C115-AC4C-401070401963}"/>
                </a:ext>
              </a:extLst>
            </p:cNvPr>
            <p:cNvSpPr/>
            <p:nvPr/>
          </p:nvSpPr>
          <p:spPr>
            <a:xfrm>
              <a:off x="7068108" y="2586323"/>
              <a:ext cx="1241824" cy="54006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GB" sz="1100" b="1">
                  <a:solidFill>
                    <a:srgbClr val="003579"/>
                  </a:solidFill>
                </a:rPr>
                <a:t>Intermodal Solutions</a:t>
              </a:r>
              <a:endParaRPr lang="en-GB" sz="1100" b="1" dirty="0">
                <a:solidFill>
                  <a:srgbClr val="003579"/>
                </a:solidFill>
              </a:endParaRPr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3A5960AE-D71C-39F6-A710-5E1B983A8C62}"/>
                </a:ext>
              </a:extLst>
            </p:cNvPr>
            <p:cNvSpPr/>
            <p:nvPr/>
          </p:nvSpPr>
          <p:spPr>
            <a:xfrm>
              <a:off x="4943872" y="3808892"/>
              <a:ext cx="1241824" cy="482666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GB" sz="1100" b="1" dirty="0">
                  <a:solidFill>
                    <a:srgbClr val="003579"/>
                  </a:solidFill>
                </a:rPr>
                <a:t>Bulk Solutions</a:t>
              </a:r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9D0B651B-73F8-115B-836A-AE685B8AB9B8}"/>
                </a:ext>
              </a:extLst>
            </p:cNvPr>
            <p:cNvSpPr/>
            <p:nvPr/>
          </p:nvSpPr>
          <p:spPr>
            <a:xfrm>
              <a:off x="7401565" y="4320042"/>
              <a:ext cx="1241824" cy="48266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GB" sz="1100" b="1" dirty="0">
                  <a:solidFill>
                    <a:srgbClr val="003579"/>
                  </a:solidFill>
                </a:rPr>
                <a:t>Logistics Solutions</a:t>
              </a:r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C67E904B-E6D2-8D1E-35BC-CCD30D088023}"/>
                </a:ext>
              </a:extLst>
            </p:cNvPr>
            <p:cNvSpPr/>
            <p:nvPr/>
          </p:nvSpPr>
          <p:spPr>
            <a:xfrm>
              <a:off x="10051429" y="3429000"/>
              <a:ext cx="1324889" cy="482669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GB" sz="1100" b="1">
                  <a:solidFill>
                    <a:srgbClr val="003579"/>
                  </a:solidFill>
                </a:rPr>
                <a:t>Digital Solutions</a:t>
              </a:r>
              <a:endParaRPr lang="en-GB" sz="1100" b="1" dirty="0">
                <a:solidFill>
                  <a:srgbClr val="003579"/>
                </a:solidFill>
              </a:endParaRPr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FF4C48A3-3724-AE59-4D9A-433F168ADB19}"/>
                </a:ext>
              </a:extLst>
            </p:cNvPr>
            <p:cNvSpPr/>
            <p:nvPr/>
          </p:nvSpPr>
          <p:spPr>
            <a:xfrm>
              <a:off x="9353718" y="4703758"/>
              <a:ext cx="1152128" cy="48266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GB" sz="1100" b="1">
                  <a:solidFill>
                    <a:srgbClr val="003579"/>
                  </a:solidFill>
                </a:rPr>
                <a:t>Liquids Solutions</a:t>
              </a:r>
              <a:endParaRPr lang="en-GB" sz="1100" b="1" dirty="0">
                <a:solidFill>
                  <a:srgbClr val="003579"/>
                </a:solidFill>
              </a:endParaRPr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CFB2D53F-2D6D-6D58-B23B-38537842E6C4}"/>
                </a:ext>
              </a:extLst>
            </p:cNvPr>
            <p:cNvSpPr/>
            <p:nvPr/>
          </p:nvSpPr>
          <p:spPr>
            <a:xfrm>
              <a:off x="8170822" y="1788795"/>
              <a:ext cx="1422441" cy="496129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GB" sz="1100" b="1">
                  <a:solidFill>
                    <a:srgbClr val="003579"/>
                  </a:solidFill>
                </a:rPr>
                <a:t>Maintenance Solutions</a:t>
              </a:r>
              <a:endParaRPr lang="en-GB" sz="1100" b="1" dirty="0">
                <a:solidFill>
                  <a:srgbClr val="003579"/>
                </a:solidFill>
              </a:endParaRPr>
            </a:p>
          </p:txBody>
        </p:sp>
      </p:grpSp>
      <p:sp>
        <p:nvSpPr>
          <p:cNvPr id="68" name="Textfeld 67">
            <a:extLst>
              <a:ext uri="{FF2B5EF4-FFF2-40B4-BE49-F238E27FC236}">
                <a16:creationId xmlns:a16="http://schemas.microsoft.com/office/drawing/2014/main" id="{EA36036F-7098-7BD3-231E-C6A0B2950223}"/>
              </a:ext>
            </a:extLst>
          </p:cNvPr>
          <p:cNvSpPr txBox="1"/>
          <p:nvPr/>
        </p:nvSpPr>
        <p:spPr>
          <a:xfrm>
            <a:off x="731403" y="1748300"/>
            <a:ext cx="4128624" cy="4398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 algn="l" defTabSz="179388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404040"/>
                </a:solidFill>
              </a:rPr>
              <a:t>Smart solutions all around rail transportation</a:t>
            </a:r>
            <a:endParaRPr lang="en-GB" sz="1600" dirty="0">
              <a:solidFill>
                <a:srgbClr val="404040"/>
              </a:solidFill>
            </a:endParaRPr>
          </a:p>
          <a:p>
            <a:pPr marL="273050" indent="-273050" algn="l" defTabSz="179388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404040"/>
                </a:solidFill>
              </a:rPr>
              <a:t>Supporting the modal shift from road to rail</a:t>
            </a:r>
          </a:p>
          <a:p>
            <a:pPr marL="536575" lvl="1" indent="-263525" defTabSz="179388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GB" sz="1600" dirty="0">
                <a:solidFill>
                  <a:srgbClr val="404040"/>
                </a:solidFill>
              </a:rPr>
              <a:t>Common intermodal solutions for transportation of trailers, containers, swap bodies on rail</a:t>
            </a:r>
          </a:p>
          <a:p>
            <a:pPr marL="536575" lvl="1" indent="-263525" defTabSz="179388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GB" sz="1600" b="1" i="1" dirty="0">
                <a:solidFill>
                  <a:srgbClr val="404040"/>
                </a:solidFill>
              </a:rPr>
              <a:t>Making non-</a:t>
            </a:r>
            <a:r>
              <a:rPr lang="en-GB" sz="1600" b="1" i="1" dirty="0" err="1">
                <a:solidFill>
                  <a:srgbClr val="404040"/>
                </a:solidFill>
              </a:rPr>
              <a:t>craneable</a:t>
            </a:r>
            <a:r>
              <a:rPr lang="en-GB" sz="1600" b="1" i="1" dirty="0">
                <a:solidFill>
                  <a:srgbClr val="404040"/>
                </a:solidFill>
              </a:rPr>
              <a:t> trailers </a:t>
            </a:r>
            <a:r>
              <a:rPr lang="en-GB" sz="1600" b="1" i="1" dirty="0" err="1">
                <a:solidFill>
                  <a:srgbClr val="404040"/>
                </a:solidFill>
              </a:rPr>
              <a:t>craneable</a:t>
            </a:r>
            <a:r>
              <a:rPr lang="en-GB" sz="1600" b="1" i="1" dirty="0">
                <a:solidFill>
                  <a:srgbClr val="404040"/>
                </a:solidFill>
              </a:rPr>
              <a:t> with the r2L solution</a:t>
            </a:r>
          </a:p>
          <a:p>
            <a:pPr marL="536575" lvl="1" indent="-263525" defTabSz="179388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600" b="1" i="1" dirty="0">
                <a:solidFill>
                  <a:srgbClr val="404040"/>
                </a:solidFill>
              </a:rPr>
              <a:t>Electrifying intermodal wagons for temperature-controlled transports</a:t>
            </a:r>
          </a:p>
          <a:p>
            <a:pPr marL="536575" lvl="1" indent="-263525" defTabSz="179388"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GB" sz="1600" dirty="0">
                <a:solidFill>
                  <a:srgbClr val="404040"/>
                </a:solidFill>
              </a:rPr>
              <a:t>Pushing cooperation between industries</a:t>
            </a:r>
          </a:p>
          <a:p>
            <a:pPr marL="273050" indent="-2730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404040"/>
                </a:solidFill>
              </a:rPr>
              <a:t>Short term ad-hoc solution for spot transports and peak periods with </a:t>
            </a:r>
            <a:br>
              <a:rPr lang="en-GB" sz="1600" dirty="0">
                <a:solidFill>
                  <a:srgbClr val="404040"/>
                </a:solidFill>
              </a:rPr>
            </a:br>
            <a:r>
              <a:rPr lang="en-GB" sz="1600" dirty="0">
                <a:solidFill>
                  <a:srgbClr val="404040"/>
                </a:solidFill>
              </a:rPr>
              <a:t>VTG Fast Track at selected locations</a:t>
            </a:r>
          </a:p>
          <a:p>
            <a:pPr marL="273050" indent="-2730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rgbClr val="404040"/>
                </a:solidFill>
              </a:rPr>
              <a:t>Digital solutions for your fleet management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GB" sz="1400" dirty="0">
              <a:solidFill>
                <a:srgbClr val="404040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GB" sz="1200" dirty="0">
              <a:solidFill>
                <a:srgbClr val="404040"/>
              </a:solidFill>
            </a:endParaRP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GB" sz="1200" dirty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1514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98B62-04C9-4ED6-9ACB-9AD73BD54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TG electrified Wag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578236-5E80-418E-AE57-0C6901D6B0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ringing environmentally friendly power to rail freight wagon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33493E0-5D98-0908-EF48-F96F491D3607}"/>
              </a:ext>
            </a:extLst>
          </p:cNvPr>
          <p:cNvSpPr txBox="1"/>
          <p:nvPr/>
        </p:nvSpPr>
        <p:spPr>
          <a:xfrm>
            <a:off x="3314997" y="1808821"/>
            <a:ext cx="4841282" cy="2880319"/>
          </a:xfrm>
          <a:prstGeom prst="roundRect">
            <a:avLst>
              <a:gd name="adj" fmla="val 5371"/>
            </a:avLst>
          </a:prstGeom>
          <a:solidFill>
            <a:srgbClr val="003579"/>
          </a:solidFill>
        </p:spPr>
        <p:txBody>
          <a:bodyPr wrap="square">
            <a:noAutofit/>
          </a:bodyPr>
          <a:lstStyle/>
          <a:p>
            <a:pPr marL="180000" lvl="2" indent="-1800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sz="1200" b="1" dirty="0">
              <a:solidFill>
                <a:srgbClr val="FFFFFF"/>
              </a:solidFill>
            </a:endParaRPr>
          </a:p>
          <a:p>
            <a:pPr marL="180000" lvl="2" indent="-1800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FF"/>
                </a:solidFill>
              </a:rPr>
              <a:t>VTG electrified </a:t>
            </a:r>
            <a:r>
              <a:rPr lang="en-US" sz="1600" dirty="0">
                <a:solidFill>
                  <a:srgbClr val="FFFFFF"/>
                </a:solidFill>
              </a:rPr>
              <a:t>– For eco-friendly, temperature-controlled rail freight transport</a:t>
            </a:r>
          </a:p>
          <a:p>
            <a:pPr marL="180000" lvl="2" indent="-1800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Bringing power to the wagon for reefer containers, trailers and swap bodies to be transported</a:t>
            </a:r>
          </a:p>
          <a:p>
            <a:pPr marL="180000" lvl="2" indent="-1800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Enabling the wagon to generate its own power for an easy handling, independent of the locomotive and any other wagon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834BA593-5D2B-0E61-C5A6-6F18026350C3}"/>
              </a:ext>
            </a:extLst>
          </p:cNvPr>
          <p:cNvSpPr/>
          <p:nvPr/>
        </p:nvSpPr>
        <p:spPr>
          <a:xfrm>
            <a:off x="743027" y="1795454"/>
            <a:ext cx="2484277" cy="4262446"/>
          </a:xfrm>
          <a:prstGeom prst="roundRect">
            <a:avLst>
              <a:gd name="adj" fmla="val 4739"/>
            </a:avLst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8696" t="-1" r="-5796" b="-395"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3FDF0FA-4262-5F9B-933C-B9EB00DEBA3B}"/>
              </a:ext>
            </a:extLst>
          </p:cNvPr>
          <p:cNvSpPr/>
          <p:nvPr/>
        </p:nvSpPr>
        <p:spPr>
          <a:xfrm>
            <a:off x="3314997" y="4761148"/>
            <a:ext cx="4841282" cy="1296752"/>
          </a:xfrm>
          <a:prstGeom prst="roundRect">
            <a:avLst>
              <a:gd name="adj" fmla="val 9570"/>
            </a:avLst>
          </a:prstGeom>
          <a:blipFill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1152"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2AB560D-A63C-650D-2032-1D66DFF349E8}"/>
              </a:ext>
            </a:extLst>
          </p:cNvPr>
          <p:cNvSpPr/>
          <p:nvPr/>
        </p:nvSpPr>
        <p:spPr>
          <a:xfrm>
            <a:off x="8257249" y="1808821"/>
            <a:ext cx="3204776" cy="4249080"/>
          </a:xfrm>
          <a:prstGeom prst="roundRect">
            <a:avLst>
              <a:gd name="adj" fmla="val 5395"/>
            </a:avLst>
          </a:prstGeom>
          <a:blipFill>
            <a:blip r:embed="rId6"/>
            <a:stretch>
              <a:fillRect t="-1" b="-2055"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1359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98B62-04C9-4ED6-9ACB-9AD73BD54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2L Solu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578236-5E80-418E-AE57-0C6901D6B0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nabling non-</a:t>
            </a:r>
            <a:r>
              <a:rPr lang="en-US" dirty="0" err="1"/>
              <a:t>craneable</a:t>
            </a:r>
            <a:r>
              <a:rPr lang="en-US" dirty="0"/>
              <a:t> trailers to be craned and easily transported by rail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6C722EE0-78B9-4FA2-8743-BD21BCD416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626"/>
          <a:stretch/>
        </p:blipFill>
        <p:spPr>
          <a:xfrm>
            <a:off x="4713918" y="1790114"/>
            <a:ext cx="3391946" cy="201427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BDCBD6E1-F3D9-28ED-09A5-CC587A1F8A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448"/>
          <a:stretch/>
        </p:blipFill>
        <p:spPr>
          <a:xfrm>
            <a:off x="8083274" y="1744389"/>
            <a:ext cx="3413326" cy="2059998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D77A953F-956A-C52C-8781-565811EEF24A}"/>
              </a:ext>
            </a:extLst>
          </p:cNvPr>
          <p:cNvSpPr txBox="1"/>
          <p:nvPr/>
        </p:nvSpPr>
        <p:spPr>
          <a:xfrm>
            <a:off x="8179382" y="3853663"/>
            <a:ext cx="3280780" cy="4419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rgbClr val="404040"/>
                </a:solidFill>
              </a:rPr>
              <a:t>Loading the r2L basket together with the trailer onto a pocket wago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105CAFD-3F3A-57E1-0DD4-38A807DD9FD7}"/>
              </a:ext>
            </a:extLst>
          </p:cNvPr>
          <p:cNvSpPr txBox="1"/>
          <p:nvPr/>
        </p:nvSpPr>
        <p:spPr>
          <a:xfrm>
            <a:off x="4799856" y="3872081"/>
            <a:ext cx="3186968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rgbClr val="404040"/>
                </a:solidFill>
              </a:rPr>
              <a:t>Driving the trailer into the r2L basket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6C1FE3C8-27DA-92F3-34BA-14E1C35DE9CE}"/>
              </a:ext>
            </a:extLst>
          </p:cNvPr>
          <p:cNvGrpSpPr>
            <a:grpSpLocks noChangeAspect="1"/>
          </p:cNvGrpSpPr>
          <p:nvPr/>
        </p:nvGrpSpPr>
        <p:grpSpPr>
          <a:xfrm>
            <a:off x="4799856" y="4221088"/>
            <a:ext cx="3186968" cy="1957834"/>
            <a:chOff x="5427340" y="2811812"/>
            <a:chExt cx="2899423" cy="1781186"/>
          </a:xfrm>
        </p:grpSpPr>
        <p:pic>
          <p:nvPicPr>
            <p:cNvPr id="21" name="Grafik 20" descr="Ein Bild, das drinnen, Spielzeug enthält.&#10;&#10;Automatisch generierte Beschreibung">
              <a:extLst>
                <a:ext uri="{FF2B5EF4-FFF2-40B4-BE49-F238E27FC236}">
                  <a16:creationId xmlns:a16="http://schemas.microsoft.com/office/drawing/2014/main" id="{4E34EAA1-23FE-07B0-138B-0BCD1EFEEF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27340" y="2829553"/>
              <a:ext cx="2899423" cy="1763445"/>
            </a:xfrm>
            <a:prstGeom prst="rect">
              <a:avLst/>
            </a:prstGeom>
          </p:spPr>
        </p:pic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DDEAF941-13DB-5696-B5F5-685813FFFE1D}"/>
                </a:ext>
              </a:extLst>
            </p:cNvPr>
            <p:cNvSpPr/>
            <p:nvPr/>
          </p:nvSpPr>
          <p:spPr>
            <a:xfrm>
              <a:off x="5451436" y="2811812"/>
              <a:ext cx="1253369" cy="493239"/>
            </a:xfrm>
            <a:prstGeom prst="roundRect">
              <a:avLst/>
            </a:prstGeom>
            <a:solidFill>
              <a:srgbClr val="003579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sz="1200" b="1" dirty="0">
                  <a:solidFill>
                    <a:srgbClr val="FFFFFF"/>
                  </a:solidFill>
                </a:rPr>
                <a:t>r2L Basket</a:t>
              </a: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B896013-E6DE-F27A-090C-B11627208F78}"/>
              </a:ext>
            </a:extLst>
          </p:cNvPr>
          <p:cNvGrpSpPr/>
          <p:nvPr/>
        </p:nvGrpSpPr>
        <p:grpSpPr>
          <a:xfrm>
            <a:off x="8544215" y="4520148"/>
            <a:ext cx="2899423" cy="1543815"/>
            <a:chOff x="5463344" y="4292485"/>
            <a:chExt cx="2899423" cy="1543815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DF142C3-3C94-98D8-43A1-118ACDDA0D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24" t="4956" r="63226" b="52949"/>
            <a:stretch/>
          </p:blipFill>
          <p:spPr>
            <a:xfrm>
              <a:off x="5624444" y="4887236"/>
              <a:ext cx="1122694" cy="468000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EAB4D2BF-F230-6024-AABC-810B944A2E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0609" t="8858" r="2362" b="66516"/>
            <a:stretch/>
          </p:blipFill>
          <p:spPr>
            <a:xfrm>
              <a:off x="6908237" y="4938964"/>
              <a:ext cx="1423945" cy="324000"/>
            </a:xfrm>
            <a:prstGeom prst="rect">
              <a:avLst/>
            </a:prstGeom>
          </p:spPr>
        </p:pic>
        <p:pic>
          <p:nvPicPr>
            <p:cNvPr id="42" name="Grafik 41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B2A86BCB-FAD1-4408-EF95-59BBF55F82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1863"/>
            <a:stretch/>
          </p:blipFill>
          <p:spPr>
            <a:xfrm>
              <a:off x="6439029" y="5474501"/>
              <a:ext cx="938416" cy="252000"/>
            </a:xfrm>
            <a:prstGeom prst="rect">
              <a:avLst/>
            </a:prstGeom>
          </p:spPr>
        </p:pic>
        <p:sp>
          <p:nvSpPr>
            <p:cNvPr id="43" name="Rechteck: abgerundete Ecken 42">
              <a:extLst>
                <a:ext uri="{FF2B5EF4-FFF2-40B4-BE49-F238E27FC236}">
                  <a16:creationId xmlns:a16="http://schemas.microsoft.com/office/drawing/2014/main" id="{C02B8BA4-1383-CE7F-4D85-94B2ECDA21C7}"/>
                </a:ext>
              </a:extLst>
            </p:cNvPr>
            <p:cNvSpPr/>
            <p:nvPr/>
          </p:nvSpPr>
          <p:spPr>
            <a:xfrm>
              <a:off x="5463344" y="4293096"/>
              <a:ext cx="2899422" cy="470537"/>
            </a:xfrm>
            <a:prstGeom prst="roundRect">
              <a:avLst/>
            </a:prstGeom>
            <a:solidFill>
              <a:srgbClr val="003579"/>
            </a:solidFill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sz="1200" b="1" dirty="0">
                  <a:solidFill>
                    <a:srgbClr val="FFFFFF"/>
                  </a:solidFill>
                </a:rPr>
                <a:t>A cooperation for railway transport</a:t>
              </a:r>
            </a:p>
          </p:txBody>
        </p:sp>
        <p:sp>
          <p:nvSpPr>
            <p:cNvPr id="44" name="Rechteck: abgerundete Ecken 43">
              <a:extLst>
                <a:ext uri="{FF2B5EF4-FFF2-40B4-BE49-F238E27FC236}">
                  <a16:creationId xmlns:a16="http://schemas.microsoft.com/office/drawing/2014/main" id="{FBBD2918-5CD8-2451-57A0-3E7C455A46FB}"/>
                </a:ext>
              </a:extLst>
            </p:cNvPr>
            <p:cNvSpPr/>
            <p:nvPr/>
          </p:nvSpPr>
          <p:spPr>
            <a:xfrm>
              <a:off x="5463345" y="4292485"/>
              <a:ext cx="2899422" cy="1543815"/>
            </a:xfrm>
            <a:prstGeom prst="roundRect">
              <a:avLst>
                <a:gd name="adj" fmla="val 7892"/>
              </a:avLst>
            </a:prstGeom>
            <a:noFill/>
            <a:ln w="12700" cap="flat" cmpd="sng" algn="ctr">
              <a:solidFill>
                <a:srgbClr val="003579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3579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sz="1200" b="1" dirty="0">
                <a:solidFill>
                  <a:srgbClr val="404040"/>
                </a:solidFill>
              </a:endParaRPr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C1DA2F16-3887-2574-B1AE-33458069EDE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27" b="15350"/>
          <a:stretch/>
        </p:blipFill>
        <p:spPr>
          <a:xfrm>
            <a:off x="731838" y="1881188"/>
            <a:ext cx="3905540" cy="4182775"/>
          </a:xfrm>
          <a:prstGeom prst="roundRect">
            <a:avLst>
              <a:gd name="adj" fmla="val 5633"/>
            </a:avLst>
          </a:prstGeom>
          <a:ln>
            <a:solidFill>
              <a:srgbClr val="003579"/>
            </a:solidFill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63802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98B62-04C9-4ED6-9ACB-9AD73BD54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2L Solu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578236-5E80-418E-AE57-0C6901D6B0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asket options and loading possibilities</a:t>
            </a:r>
          </a:p>
        </p:txBody>
      </p:sp>
      <p:sp>
        <p:nvSpPr>
          <p:cNvPr id="6" name="Textbox">
            <a:extLst>
              <a:ext uri="{FF2B5EF4-FFF2-40B4-BE49-F238E27FC236}">
                <a16:creationId xmlns:a16="http://schemas.microsoft.com/office/drawing/2014/main" id="{5900AE11-1E9D-0639-928A-1F6AB3D3478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10139" y="3139901"/>
            <a:ext cx="4185432" cy="19360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tabLst/>
              <a:defRPr sz="1200" b="1" i="0" kern="1200">
                <a:solidFill>
                  <a:srgbClr val="00357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tabLst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58775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en-US" sz="1400" dirty="0"/>
          </a:p>
          <a:p>
            <a:pPr lvl="2">
              <a:buNone/>
            </a:pPr>
            <a:endParaRPr lang="en-US" sz="1400" dirty="0"/>
          </a:p>
          <a:p>
            <a:pPr lvl="2"/>
            <a:endParaRPr lang="en-US" sz="1400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F440052-09D9-211C-D6EE-CCC990922A7F}"/>
              </a:ext>
            </a:extLst>
          </p:cNvPr>
          <p:cNvSpPr>
            <a:spLocks noChangeAspect="1"/>
          </p:cNvSpPr>
          <p:nvPr/>
        </p:nvSpPr>
        <p:spPr>
          <a:xfrm>
            <a:off x="717912" y="1878612"/>
            <a:ext cx="4126159" cy="1961453"/>
          </a:xfrm>
          <a:prstGeom prst="roundRect">
            <a:avLst>
              <a:gd name="adj" fmla="val 8073"/>
            </a:avLst>
          </a:prstGeom>
          <a:blipFill>
            <a:blip r:embed="rId4"/>
            <a:stretch>
              <a:fillRect b="-19810"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9B574205-E6E0-A97D-421C-C1668C21AAAD}"/>
              </a:ext>
            </a:extLst>
          </p:cNvPr>
          <p:cNvSpPr/>
          <p:nvPr/>
        </p:nvSpPr>
        <p:spPr>
          <a:xfrm>
            <a:off x="4970696" y="4666249"/>
            <a:ext cx="3317491" cy="1571039"/>
          </a:xfrm>
          <a:prstGeom prst="roundRect">
            <a:avLst>
              <a:gd name="adj" fmla="val 8073"/>
            </a:avLst>
          </a:prstGeom>
          <a:blipFill>
            <a:blip r:embed="rId5"/>
            <a:stretch>
              <a:fillRect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4964165F-18CA-FC25-50B7-C8B13C338B53}"/>
              </a:ext>
            </a:extLst>
          </p:cNvPr>
          <p:cNvSpPr>
            <a:spLocks noChangeAspect="1"/>
          </p:cNvSpPr>
          <p:nvPr/>
        </p:nvSpPr>
        <p:spPr>
          <a:xfrm>
            <a:off x="5001917" y="1878612"/>
            <a:ext cx="3240492" cy="1954322"/>
          </a:xfrm>
          <a:prstGeom prst="roundRect">
            <a:avLst>
              <a:gd name="adj" fmla="val 8073"/>
            </a:avLst>
          </a:prstGeom>
          <a:blipFill>
            <a:blip r:embed="rId6"/>
            <a:stretch>
              <a:fillRect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8AA9D8C-BE29-8C37-CB00-6D48CC6BD20C}"/>
              </a:ext>
            </a:extLst>
          </p:cNvPr>
          <p:cNvSpPr>
            <a:spLocks noChangeAspect="1"/>
          </p:cNvSpPr>
          <p:nvPr/>
        </p:nvSpPr>
        <p:spPr>
          <a:xfrm>
            <a:off x="8400256" y="1881187"/>
            <a:ext cx="3049001" cy="4356101"/>
          </a:xfrm>
          <a:prstGeom prst="roundRect">
            <a:avLst>
              <a:gd name="adj" fmla="val 8073"/>
            </a:avLst>
          </a:prstGeom>
          <a:blipFill>
            <a:blip r:embed="rId7"/>
            <a:stretch>
              <a:fillRect r="8" b="-1148"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9A58551-42E3-A279-B6CD-EE50B45CF86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44"/>
          <a:stretch/>
        </p:blipFill>
        <p:spPr>
          <a:xfrm>
            <a:off x="5909202" y="3537012"/>
            <a:ext cx="1446938" cy="1330205"/>
          </a:xfrm>
          <a:prstGeom prst="rect">
            <a:avLst/>
          </a:prstGeom>
        </p:spPr>
      </p:pic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DACDE259-1DBD-58A8-77EF-061C5FD60507}"/>
              </a:ext>
            </a:extLst>
          </p:cNvPr>
          <p:cNvSpPr>
            <a:spLocks noChangeAspect="1"/>
          </p:cNvSpPr>
          <p:nvPr/>
        </p:nvSpPr>
        <p:spPr>
          <a:xfrm>
            <a:off x="732630" y="3968751"/>
            <a:ext cx="4140672" cy="2268538"/>
          </a:xfrm>
          <a:prstGeom prst="roundRect">
            <a:avLst>
              <a:gd name="adj" fmla="val 8073"/>
            </a:avLst>
          </a:prstGeom>
          <a:blipFill>
            <a:blip r:embed="rId9"/>
            <a:stretch>
              <a:fillRect t="-25570" b="-45930"/>
            </a:stretch>
          </a:blipFill>
          <a:ln w="12700" cap="flat" cmpd="sng" algn="ctr">
            <a:solidFill>
              <a:srgbClr val="00357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b="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420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" name="Grafik 206">
            <a:extLst>
              <a:ext uri="{FF2B5EF4-FFF2-40B4-BE49-F238E27FC236}">
                <a16:creationId xmlns:a16="http://schemas.microsoft.com/office/drawing/2014/main" id="{68EBD7F1-16D9-5C96-80B6-20F01F7EC2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6111" r="19494" b="1"/>
          <a:stretch/>
        </p:blipFill>
        <p:spPr>
          <a:xfrm>
            <a:off x="4621256" y="0"/>
            <a:ext cx="7570744" cy="6390540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C4B559C2-F4FD-445E-72B8-DD4AFED8F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403" y="728700"/>
            <a:ext cx="3134349" cy="540060"/>
          </a:xfrm>
        </p:spPr>
        <p:txBody>
          <a:bodyPr/>
          <a:lstStyle/>
          <a:p>
            <a:r>
              <a:rPr lang="en-US" dirty="0"/>
              <a:t>r2L Solu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ACE908-7DFB-A7F9-5726-412917FCF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403" y="1304764"/>
            <a:ext cx="2340261" cy="324036"/>
          </a:xfrm>
        </p:spPr>
        <p:txBody>
          <a:bodyPr/>
          <a:lstStyle/>
          <a:p>
            <a:r>
              <a:rPr lang="en-US" dirty="0"/>
              <a:t>Existing Network</a:t>
            </a:r>
          </a:p>
        </p:txBody>
      </p:sp>
      <p:sp>
        <p:nvSpPr>
          <p:cNvPr id="217" name="Ellipse 216">
            <a:extLst>
              <a:ext uri="{FF2B5EF4-FFF2-40B4-BE49-F238E27FC236}">
                <a16:creationId xmlns:a16="http://schemas.microsoft.com/office/drawing/2014/main" id="{2796B007-644D-807E-58FF-DDF458EFF7BF}"/>
              </a:ext>
            </a:extLst>
          </p:cNvPr>
          <p:cNvSpPr/>
          <p:nvPr/>
        </p:nvSpPr>
        <p:spPr>
          <a:xfrm>
            <a:off x="10524492" y="5249051"/>
            <a:ext cx="1584176" cy="10602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1B4213B2-B881-E0C3-99DD-089E1CFD7B7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5414047"/>
            <a:ext cx="955540" cy="694271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6FF3CF4-0A3E-4CD4-086D-11FF1D46CF5E}"/>
              </a:ext>
            </a:extLst>
          </p:cNvPr>
          <p:cNvGrpSpPr/>
          <p:nvPr/>
        </p:nvGrpSpPr>
        <p:grpSpPr>
          <a:xfrm>
            <a:off x="6564052" y="765886"/>
            <a:ext cx="2197811" cy="1186950"/>
            <a:chOff x="8544272" y="-1416075"/>
            <a:chExt cx="2197811" cy="118695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id="{47BF95DC-A34B-512C-7637-86D9247284A0}"/>
                </a:ext>
              </a:extLst>
            </p:cNvPr>
            <p:cNvSpPr/>
            <p:nvPr/>
          </p:nvSpPr>
          <p:spPr>
            <a:xfrm>
              <a:off x="8544272" y="-1416075"/>
              <a:ext cx="2197811" cy="1186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pic>
          <p:nvPicPr>
            <p:cNvPr id="213" name="Grafik 212">
              <a:extLst>
                <a:ext uri="{FF2B5EF4-FFF2-40B4-BE49-F238E27FC236}">
                  <a16:creationId xmlns:a16="http://schemas.microsoft.com/office/drawing/2014/main" id="{350B6BC7-B66A-CDBF-EFE3-00B3C0B88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4704" y="-1117773"/>
              <a:ext cx="1771438" cy="668843"/>
            </a:xfrm>
            <a:prstGeom prst="rect">
              <a:avLst/>
            </a:prstGeom>
          </p:spPr>
        </p:pic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B9F60596-E159-B32B-5A11-DA811A0AEB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925" b="22175"/>
          <a:stretch/>
        </p:blipFill>
        <p:spPr>
          <a:xfrm>
            <a:off x="731403" y="2080091"/>
            <a:ext cx="5203620" cy="3168960"/>
          </a:xfrm>
          <a:prstGeom prst="roundRect">
            <a:avLst>
              <a:gd name="adj" fmla="val 5390"/>
            </a:avLst>
          </a:prstGeom>
          <a:ln>
            <a:solidFill>
              <a:srgbClr val="003579"/>
            </a:solidFill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129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5188D315-829A-70C3-BC3C-2273101732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162"/>
          <a:stretch/>
        </p:blipFill>
        <p:spPr>
          <a:xfrm>
            <a:off x="-8167" y="0"/>
            <a:ext cx="12200167" cy="6330948"/>
          </a:xfrm>
          <a:prstGeom prst="rect">
            <a:avLst/>
          </a:prstGeom>
        </p:spPr>
      </p:pic>
      <p:sp>
        <p:nvSpPr>
          <p:cNvPr id="18" name="Textplatzhalter 21">
            <a:extLst>
              <a:ext uri="{FF2B5EF4-FFF2-40B4-BE49-F238E27FC236}">
                <a16:creationId xmlns:a16="http://schemas.microsoft.com/office/drawing/2014/main" id="{8BDCAB69-38DC-4AF8-B053-7F28E238F200}"/>
              </a:ext>
            </a:extLst>
          </p:cNvPr>
          <p:cNvSpPr txBox="1">
            <a:spLocks/>
          </p:cNvSpPr>
          <p:nvPr/>
        </p:nvSpPr>
        <p:spPr>
          <a:xfrm>
            <a:off x="1260000" y="5526001"/>
            <a:ext cx="3238500" cy="32478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tabLst/>
              <a:defRPr sz="1200" b="1" i="0" kern="1200">
                <a:solidFill>
                  <a:srgbClr val="00357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tabLst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58775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200" b="0" i="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4391BEC-26BE-F67F-9AB2-285C2FCF2F6E}"/>
              </a:ext>
            </a:extLst>
          </p:cNvPr>
          <p:cNvSpPr/>
          <p:nvPr/>
        </p:nvSpPr>
        <p:spPr>
          <a:xfrm>
            <a:off x="11017" y="307076"/>
            <a:ext cx="44962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endParaRPr lang="de-DE" sz="9600" b="1" spc="50" dirty="0">
              <a:ln w="952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B7C6DC7-72B8-6885-1A60-4E2C82548F2A}"/>
              </a:ext>
            </a:extLst>
          </p:cNvPr>
          <p:cNvSpPr/>
          <p:nvPr/>
        </p:nvSpPr>
        <p:spPr>
          <a:xfrm>
            <a:off x="1213374" y="1137108"/>
            <a:ext cx="9757083" cy="1822586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</p:spPr>
        <p:txBody>
          <a:bodyPr wrap="square" lIns="91440" tIns="45720" rIns="91440" bIns="45720">
            <a:noAutofit/>
          </a:bodyPr>
          <a:lstStyle/>
          <a:p>
            <a:pPr algn="ctr"/>
            <a:r>
              <a:rPr lang="en-US" sz="5400" b="1" spc="50" dirty="0">
                <a:ln w="9525" cmpd="sng">
                  <a:solidFill>
                    <a:schemeClr val="tx1">
                      <a:lumMod val="50000"/>
                    </a:schemeClr>
                  </a:solidFill>
                  <a:prstDash val="solid"/>
                </a:ln>
                <a:noFill/>
                <a:effectLst>
                  <a:glow rad="38100">
                    <a:schemeClr val="accent1">
                      <a:alpha val="40000"/>
                    </a:schemeClr>
                  </a:glow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“The key to decarbonization is cooperation.”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4BCDA64-CEBE-4618-F56B-3A5FB9997A95}"/>
              </a:ext>
            </a:extLst>
          </p:cNvPr>
          <p:cNvSpPr/>
          <p:nvPr/>
        </p:nvSpPr>
        <p:spPr>
          <a:xfrm>
            <a:off x="1213374" y="3165474"/>
            <a:ext cx="9757083" cy="1822586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de-DE" sz="2400" b="1" dirty="0">
                <a:solidFill>
                  <a:srgbClr val="003579"/>
                </a:solidFill>
                <a:cs typeface="Arial Black" panose="020B0604020202020204" pitchFamily="34" charset="0"/>
              </a:rPr>
              <a:t>Using the strength of each sector and creating solutions together for environmentally friendly and feasible transportation throughout Europe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5209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Text, Schrift, Logo, Design enthält.&#10;&#10;Automatisch generierte Beschreibung">
            <a:extLst>
              <a:ext uri="{FF2B5EF4-FFF2-40B4-BE49-F238E27FC236}">
                <a16:creationId xmlns:a16="http://schemas.microsoft.com/office/drawing/2014/main" id="{E356E0A4-3402-3744-50F6-D853DBBCE3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4133" y="620688"/>
            <a:ext cx="7836029" cy="2664296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9290AF1F-0777-2F58-BBF1-870DA04F4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402" y="3429000"/>
            <a:ext cx="5724961" cy="540060"/>
          </a:xfrm>
        </p:spPr>
        <p:txBody>
          <a:bodyPr/>
          <a:lstStyle/>
          <a:p>
            <a:r>
              <a:rPr lang="en-US" dirty="0"/>
              <a:t>Thank you for your attention!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758191C3-F0F9-7F79-FE0E-B7C9E3E67D74}"/>
              </a:ext>
            </a:extLst>
          </p:cNvPr>
          <p:cNvSpPr txBox="1">
            <a:spLocks/>
          </p:cNvSpPr>
          <p:nvPr/>
        </p:nvSpPr>
        <p:spPr>
          <a:xfrm>
            <a:off x="731838" y="4249160"/>
            <a:ext cx="5544182" cy="6999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b="1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thias Knüpling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 of Industry Lobbying &amp; </a:t>
            </a:r>
            <a:r>
              <a:rPr kumimoji="0" lang="de-DE" sz="2000" b="0" i="0" u="none" strike="noStrike" kern="600" cap="none" spc="0" normalizeH="0" baseline="0" noProof="0" dirty="0" err="1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ociations</a:t>
            </a:r>
            <a:endParaRPr kumimoji="0" lang="de-DE" sz="2000" b="0" i="0" u="none" strike="noStrike" kern="600" cap="none" spc="0" normalizeH="0" baseline="0" noProof="0" dirty="0">
              <a:ln>
                <a:noFill/>
              </a:ln>
              <a:solidFill>
                <a:srgbClr val="00357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DE88CFF0-11C5-5B0E-DC95-A32AA7B39EA4}"/>
              </a:ext>
            </a:extLst>
          </p:cNvPr>
          <p:cNvSpPr txBox="1">
            <a:spLocks/>
          </p:cNvSpPr>
          <p:nvPr/>
        </p:nvSpPr>
        <p:spPr>
          <a:xfrm>
            <a:off x="732108" y="5229200"/>
            <a:ext cx="4176030" cy="90356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800" b="1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360000" algn="l"/>
              </a:tabLst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360000" algn="l"/>
              </a:tabLst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360000" algn="l"/>
              </a:tabLst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360000" algn="l"/>
              </a:tabLst>
              <a:defRPr sz="1800" kern="6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de-DE" b="1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kumimoji="0" lang="de-DE" b="0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+49 40 23 54 22 21</a:t>
            </a:r>
          </a:p>
          <a:p>
            <a:pPr marL="0" marR="0" lvl="1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de-DE" b="1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de-DE" b="0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+49 172 9 14 02 78</a:t>
            </a:r>
          </a:p>
          <a:p>
            <a:pPr marL="0" marR="0" lvl="1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de-DE" b="1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r>
              <a:rPr kumimoji="0" lang="de-DE" b="0" i="0" u="none" strike="noStrike" kern="600" cap="none" spc="0" normalizeH="0" baseline="0" noProof="0" dirty="0">
                <a:ln>
                  <a:noFill/>
                </a:ln>
                <a:solidFill>
                  <a:srgbClr val="00357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matthias.knuepling@vtg.com</a:t>
            </a:r>
          </a:p>
        </p:txBody>
      </p:sp>
    </p:spTree>
    <p:extLst>
      <p:ext uri="{BB962C8B-B14F-4D97-AF65-F5344CB8AC3E}">
        <p14:creationId xmlns:p14="http://schemas.microsoft.com/office/powerpoint/2010/main" val="1628672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2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EASYCUSTOMCOLORS" val="7943424;12351744;10131456;42457;2590960;56575;2264908;7807308;6553777;2818241;11767411;14135931;12763502;7654120;8435958;7990015;8765082;11369365;10643921;8480474;15064019;15918540;15461071;14151415;14018812;13891839;15726579;14996699;14733040;14011636"/>
  <p:tag name="DEFAULTLANGUAGEID" val="1033"/>
  <p:tag name="EASYMASTER" val="VT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TAUTONAVIGATOR" val="n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7,59079"/>
  <p:tag name="TOP" val="148,096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07_13-22:36:4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TAUTONAVIGATOR" val="no"/>
  <p:tag name="EASYCHANGED" val="22_05_30-15:41:3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OTERFORMAT" val="&lt;?xml version=&quot;1.0&quot; encoding=&quot;utf-16&quot;?&gt;&#10;&lt;footerFormat xmlns:xsi=&quot;http://www.w3.org/2001/XMLSchema-instance&quot; xmlns:xsd=&quot;http://www.w3.org/2001/XMLSchema&quot;&gt;&#10;  &lt;firstString /&gt;&#10;  &lt;laststring /&gt;&#10;  &lt;separator&gt;     |     &lt;/separator&gt;&#10;  &lt;usedFields&gt;13&lt;/usedFields&gt;&#10;&lt;/footerForma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TG Master 2022">
  <a:themeElements>
    <a:clrScheme name="VTG">
      <a:dk1>
        <a:srgbClr val="404040"/>
      </a:dk1>
      <a:lt1>
        <a:srgbClr val="FFFFFF"/>
      </a:lt1>
      <a:dk2>
        <a:srgbClr val="0079BC"/>
      </a:dk2>
      <a:lt2>
        <a:srgbClr val="DEDEDE"/>
      </a:lt2>
      <a:accent1>
        <a:srgbClr val="003479"/>
      </a:accent1>
      <a:accent2>
        <a:srgbClr val="4896CA"/>
      </a:accent2>
      <a:accent3>
        <a:srgbClr val="A9CCE5"/>
      </a:accent3>
      <a:accent4>
        <a:srgbClr val="A3A3A3"/>
      </a:accent4>
      <a:accent5>
        <a:srgbClr val="6EC1C2"/>
      </a:accent5>
      <a:accent6>
        <a:srgbClr val="00989A"/>
      </a:accent6>
      <a:hlink>
        <a:srgbClr val="DEDEDE"/>
      </a:hlink>
      <a:folHlink>
        <a:srgbClr val="D9A5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3579"/>
        </a:solidFill>
        <a:ln w="12700" cap="flat" cmpd="sng" algn="ctr">
          <a:solidFill>
            <a:srgbClr val="003579"/>
          </a:solidFill>
          <a:prstDash val="solid"/>
          <a:miter lim="800000"/>
          <a:headEnd type="none" w="med" len="med"/>
          <a:tailEnd type="none" w="med" len="med"/>
        </a:ln>
      </a:spPr>
      <a:bodyPr lIns="72000" tIns="72000" rIns="72000" bIns="72000" rtlCol="0" anchor="ctr"/>
      <a:lstStyle>
        <a:defPPr algn="ctr">
          <a:defRPr sz="1200" b="1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rgbClr val="003579"/>
          </a:solidFill>
          <a:prstDash val="solid"/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defRPr sz="1200" dirty="0" err="1" smtClean="0">
            <a:solidFill>
              <a:srgbClr val="404040"/>
            </a:solidFill>
          </a:defRPr>
        </a:defPPr>
      </a:lstStyle>
    </a:txDef>
  </a:objectDefaults>
  <a:extraClrSchemeLst/>
  <a:custClrLst>
    <a:custClr name="r:000 g:053 b:121">
      <a:srgbClr val="003579"/>
    </a:custClr>
    <a:custClr name="r:000 g:121 b:188">
      <a:srgbClr val="0079BC"/>
    </a:custClr>
    <a:custClr name="r:000 g:152 b:154">
      <a:srgbClr val="00989A"/>
    </a:custClr>
    <a:custClr name="r:217 g:165 b:000">
      <a:srgbClr val="D9A500"/>
    </a:custClr>
    <a:custClr name="r:240 g:136 b:039">
      <a:srgbClr val="F08827"/>
    </a:custClr>
    <a:custClr name="r:255 g:220 b:000">
      <a:srgbClr val="FFDC00"/>
    </a:custClr>
    <a:custClr name="r:076 g:143 b:034">
      <a:srgbClr val="4C8F22"/>
    </a:custClr>
    <a:custClr name="r:076 g:033 b:119">
      <a:srgbClr val="4C2177"/>
    </a:custClr>
    <a:custClr name="r:177 g:000 b:100">
      <a:srgbClr val="B10064"/>
    </a:custClr>
    <a:custClr name="r:193 g:000 b:043">
      <a:srgbClr val="C1002B"/>
    </a:custClr>
    <a:custClr name="r:115 g:142 b:179">
      <a:srgbClr val="738EB3"/>
    </a:custClr>
    <a:custClr name="r:123 g:178 b:215">
      <a:srgbClr val="7BB2D7"/>
    </a:custClr>
    <a:custClr name="r:110 g:193 b:194">
      <a:srgbClr val="6EC1C2"/>
    </a:custClr>
    <a:custClr name="r:232 g:202 b:116">
      <a:srgbClr val="E8CA74"/>
    </a:custClr>
    <a:custClr name="r:246 g:184 b:128">
      <a:srgbClr val="F6B880"/>
    </a:custClr>
    <a:custClr name="r:255 g:234 b:121">
      <a:srgbClr val="FFEA79"/>
    </a:custClr>
    <a:custClr name="r:154 g:190 b:133">
      <a:srgbClr val="9ABE85"/>
    </a:custClr>
    <a:custClr name="r:149 g:123 b:173">
      <a:srgbClr val="957BAD"/>
    </a:custClr>
    <a:custClr name="r:209 g:105 b:162">
      <a:srgbClr val="D169A2"/>
    </a:custClr>
    <a:custClr name="r:218 g:102 b:129">
      <a:srgbClr val="DA6681"/>
    </a:custClr>
    <a:custClr name="r:211 g:219 b:229">
      <a:srgbClr val="D3DBE5"/>
    </a:custClr>
    <a:custClr name="r:204 g:229 b:242">
      <a:srgbClr val="CCE5F2"/>
    </a:custClr>
    <a:custClr name="r:207 g:234 b:235">
      <a:srgbClr val="CFEAEB"/>
    </a:custClr>
    <a:custClr name="r:247 g:238 b:215">
      <a:srgbClr val="F7EED7"/>
    </a:custClr>
    <a:custClr name="r:252 g:232 b:213">
      <a:srgbClr val="FCE8D5"/>
    </a:custClr>
    <a:custClr name="r:255 g:248 b:211">
      <a:srgbClr val="FFF8D3"/>
    </a:custClr>
    <a:custClr name="r:243 g:247 b:239">
      <a:srgbClr val="F3F7EF"/>
    </a:custClr>
    <a:custClr name="r:219 g:212 b:228">
      <a:srgbClr val="DBD4E4"/>
    </a:custClr>
    <a:custClr name="r:240 g:206 b:224">
      <a:srgbClr val="F0CEE0"/>
    </a:custClr>
    <a:custClr name="r:244 g:204 b:213">
      <a:srgbClr val="F4CCD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324458F0BFEC546BDE76C320051B62E" ma:contentTypeVersion="12" ma:contentTypeDescription="Ein neues Dokument erstellen." ma:contentTypeScope="" ma:versionID="95f898eb2ad41c35dc02f47d9ffde134">
  <xsd:schema xmlns:xsd="http://www.w3.org/2001/XMLSchema" xmlns:xs="http://www.w3.org/2001/XMLSchema" xmlns:p="http://schemas.microsoft.com/office/2006/metadata/properties" xmlns:ns2="057f5f2c-1b5b-4b8d-a9e5-00288f2185b0" xmlns:ns3="854290ca-3660-47ec-b42f-a7c8b84ef414" targetNamespace="http://schemas.microsoft.com/office/2006/metadata/properties" ma:root="true" ma:fieldsID="c68655c297ef56c6bd0b21f3b7c99f65" ns2:_="" ns3:_="">
    <xsd:import namespace="057f5f2c-1b5b-4b8d-a9e5-00288f2185b0"/>
    <xsd:import namespace="854290ca-3660-47ec-b42f-a7c8b84ef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7f5f2c-1b5b-4b8d-a9e5-00288f2185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4290ca-3660-47ec-b42f-a7c8b84ef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2A9635-894A-4091-A781-6CF4CAF4C7DB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057f5f2c-1b5b-4b8d-a9e5-00288f2185b0"/>
    <ds:schemaRef ds:uri="http://purl.org/dc/elements/1.1/"/>
    <ds:schemaRef ds:uri="http://schemas.microsoft.com/office/2006/metadata/properties"/>
    <ds:schemaRef ds:uri="http://schemas.microsoft.com/office/2006/documentManagement/types"/>
    <ds:schemaRef ds:uri="854290ca-3660-47ec-b42f-a7c8b84ef41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2A419F5-FDB4-4822-B27B-2334D69E21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D76E588-79E6-478C-83C5-34276CF559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7f5f2c-1b5b-4b8d-a9e5-00288f2185b0"/>
    <ds:schemaRef ds:uri="854290ca-3660-47ec-b42f-a7c8b84ef4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0</Words>
  <Application>Microsoft Office PowerPoint</Application>
  <PresentationFormat>Breitbild</PresentationFormat>
  <Paragraphs>51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Symbol</vt:lpstr>
      <vt:lpstr>Wingdings</vt:lpstr>
      <vt:lpstr>VTG Master 2022</vt:lpstr>
      <vt:lpstr>think-cell Folie</vt:lpstr>
      <vt:lpstr>Solutions for the Modal Shift to Rail</vt:lpstr>
      <vt:lpstr>How VTG supports the Decarbonizing of the Multimodal Logistics Chain</vt:lpstr>
      <vt:lpstr>VTG electrified Wagons</vt:lpstr>
      <vt:lpstr>r2L Solution</vt:lpstr>
      <vt:lpstr>r2L Solution</vt:lpstr>
      <vt:lpstr>r2L Solution</vt:lpstr>
      <vt:lpstr>PowerPoint-Präsentation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ten, Saskia</dc:creator>
  <cp:lastModifiedBy>Knuepling, Matthias</cp:lastModifiedBy>
  <cp:revision>693</cp:revision>
  <cp:lastPrinted>2021-04-21T15:06:23Z</cp:lastPrinted>
  <dcterms:created xsi:type="dcterms:W3CDTF">2021-03-13T14:49:05Z</dcterms:created>
  <dcterms:modified xsi:type="dcterms:W3CDTF">2023-10-20T11:0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24458F0BFEC546BDE76C320051B62E</vt:lpwstr>
  </property>
</Properties>
</file>